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entation.xml" ContentType="application/vnd.openxmlformats-officedocument.presentationml.presentation.main+xml"/>
  <Override PartName="/ppt/slides/slide10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4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2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1.xml" ContentType="application/vnd.openxmlformats-officedocument.presentationml.slideLayout+xml"/>
  <Override PartName="/ppt/theme/theme1.xml" ContentType="application/vnd.openxmlformats-officedocument.theme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ppt/tags/tag21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4.xml" ContentType="application/vnd.openxmlformats-officedocument.presentationml.tags+xml"/>
  <Override PartName="/ppt/tags/tag13.xml" ContentType="application/vnd.openxmlformats-officedocument.presentationml.tags+xml"/>
  <Override PartName="/ppt/tags/tag5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customXml/itemProps1.xml" ContentType="application/vnd.openxmlformats-officedocument.customXmlProperties+xml"/>
  <Override PartName="/ppt/tags/tag26.xml" ContentType="application/vnd.openxmlformats-officedocument.presentationml.tags+xml"/>
  <Override PartName="/ppt/tags/tag23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37.xml" ContentType="application/vnd.openxmlformats-officedocument.presentationml.tags+xml"/>
  <Override PartName="/ppt/tags/tag45.xml" ContentType="application/vnd.openxmlformats-officedocument.presentationml.tags+xml"/>
  <Override PartName="/ppt/tags/tag38.xml" ContentType="application/vnd.openxmlformats-officedocument.presentationml.tags+xml"/>
  <Override PartName="/ppt/tags/tag42.xml" ContentType="application/vnd.openxmlformats-officedocument.presentationml.tags+xml"/>
  <Override PartName="/ppt/tags/tag44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43.xml" ContentType="application/vnd.openxmlformats-officedocument.presentationml.tags+xml"/>
  <Override PartName="/ppt/tags/tag55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27.xml" ContentType="application/vnd.openxmlformats-officedocument.presentationml.tags+xml"/>
  <Override PartName="/ppt/tags/tag32.xml" ContentType="application/vnd.openxmlformats-officedocument.presentationml.tags+xml"/>
  <Override PartName="/ppt/tags/tag5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2.xml" ContentType="application/vnd.openxmlformats-officedocument.presentationml.tags+xml"/>
  <Override PartName="/customXml/itemProps5.xml" ContentType="application/vnd.openxmlformats-officedocument.customXmlProperties+xml"/>
  <Override PartName="/customXml/itemProps4.xml" ContentType="application/vnd.openxmlformats-officedocument.customXmlProperties+xml"/>
  <Override PartName="/customXml/itemProps6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69" r:id="rId4"/>
  </p:sldMasterIdLst>
  <p:notesMasterIdLst>
    <p:notesMasterId r:id="rId17"/>
  </p:notesMasterIdLst>
  <p:handoutMasterIdLst>
    <p:handoutMasterId r:id="rId18"/>
  </p:handoutMasterIdLst>
  <p:sldIdLst>
    <p:sldId id="381" r:id="rId5"/>
    <p:sldId id="424" r:id="rId6"/>
    <p:sldId id="370" r:id="rId7"/>
    <p:sldId id="391" r:id="rId8"/>
    <p:sldId id="392" r:id="rId9"/>
    <p:sldId id="393" r:id="rId10"/>
    <p:sldId id="408" r:id="rId11"/>
    <p:sldId id="395" r:id="rId12"/>
    <p:sldId id="396" r:id="rId13"/>
    <p:sldId id="407" r:id="rId14"/>
    <p:sldId id="397" r:id="rId15"/>
    <p:sldId id="398" r:id="rId16"/>
  </p:sldIdLst>
  <p:sldSz cx="12198350" cy="6858000"/>
  <p:notesSz cx="7102475" cy="10234613"/>
  <p:custDataLst>
    <p:custData r:id="rId3"/>
    <p:tags r:id="rId1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6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78">
          <p15:clr>
            <a:srgbClr val="A4A3A4"/>
          </p15:clr>
        </p15:guide>
        <p15:guide id="15" orient="horz" pos="2387">
          <p15:clr>
            <a:srgbClr val="A4A3A4"/>
          </p15:clr>
        </p15:guide>
        <p15:guide id="16" orient="horz" pos="986">
          <p15:clr>
            <a:srgbClr val="A4A3A4"/>
          </p15:clr>
        </p15:guide>
        <p15:guide id="17" orient="horz" pos="37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342" userDrawn="1">
          <p15:clr>
            <a:srgbClr val="A4A3A4"/>
          </p15:clr>
        </p15:guide>
        <p15:guide id="2" pos="2356" userDrawn="1">
          <p15:clr>
            <a:srgbClr val="A4A3A4"/>
          </p15:clr>
        </p15:guide>
        <p15:guide id="3" orient="horz" pos="3224" userDrawn="1">
          <p15:clr>
            <a:srgbClr val="A4A3A4"/>
          </p15:clr>
        </p15:guide>
        <p15:guide id="4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DFDFC"/>
    <a:srgbClr val="FDFDFD"/>
    <a:srgbClr val="FDFEFD"/>
    <a:srgbClr val="FEFDFD"/>
    <a:srgbClr val="FEFEFD"/>
    <a:srgbClr val="FEFEFE"/>
    <a:srgbClr val="FEFFFE"/>
    <a:srgbClr val="FFFEFE"/>
    <a:srgbClr val="FFFF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777" autoAdjust="0"/>
    <p:restoredTop sz="95668" autoAdjust="0"/>
  </p:normalViewPr>
  <p:slideViewPr>
    <p:cSldViewPr snapToGrid="0" snapToObjects="1" showGuides="1">
      <p:cViewPr varScale="1">
        <p:scale>
          <a:sx n="49" d="100"/>
          <a:sy n="49" d="100"/>
        </p:scale>
        <p:origin x="648" y="53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3906"/>
        <p:guide orient="horz" pos="654"/>
        <p:guide orient="horz" pos="2478"/>
        <p:guide orient="horz" pos="2387"/>
        <p:guide orient="horz" pos="986"/>
        <p:guide orient="horz" pos="37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39"/>
    </p:cViewPr>
  </p:sorterViewPr>
  <p:notesViewPr>
    <p:cSldViewPr snapToGrid="0" snapToObjects="1" showGuides="1">
      <p:cViewPr varScale="1">
        <p:scale>
          <a:sx n="76" d="100"/>
          <a:sy n="76" d="100"/>
        </p:scale>
        <p:origin x="2982" y="120"/>
      </p:cViewPr>
      <p:guideLst>
        <p:guide orient="horz" pos="3342"/>
        <p:guide pos="2356"/>
        <p:guide orient="horz" pos="3224"/>
        <p:guide pos="223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openxmlformats.org/officeDocument/2006/relationships/customXml" Target="../customXml/item6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openxmlformats.org/officeDocument/2006/relationships/customXml" Target="../customXml/item5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ustomXml" Target="../customXml/item4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9" tIns="45725" rIns="91449" bIns="45725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5" tIns="148565" rIns="148565" bIns="148565" numCol="1" anchor="t" anchorCtr="0" compatLnSpc="1">
            <a:prstTxWarp prst="textNoShape">
              <a:avLst/>
            </a:prstTxWarp>
          </a:bodyPr>
          <a:lstStyle>
            <a:lvl1pPr defTabSz="943069">
              <a:spcBef>
                <a:spcPct val="0"/>
              </a:spcBef>
              <a:defRPr sz="13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5" tIns="148565" rIns="148565" bIns="148565" numCol="1" anchor="t" anchorCtr="0" compatLnSpc="1">
            <a:prstTxWarp prst="textNoShape">
              <a:avLst/>
            </a:prstTxWarp>
          </a:bodyPr>
          <a:lstStyle>
            <a:lvl1pPr algn="r" defTabSz="943069">
              <a:spcBef>
                <a:spcPct val="0"/>
              </a:spcBef>
              <a:defRPr sz="13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5" tIns="148565" rIns="148565" bIns="148565" numCol="1" anchor="b" anchorCtr="0" compatLnSpc="1">
            <a:prstTxWarp prst="textNoShape">
              <a:avLst/>
            </a:prstTxWarp>
          </a:bodyPr>
          <a:lstStyle>
            <a:lvl1pPr defTabSz="943069">
              <a:spcBef>
                <a:spcPct val="0"/>
              </a:spcBef>
              <a:defRPr sz="13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5" tIns="148565" rIns="148565" bIns="148565" numCol="1" anchor="b" anchorCtr="0" compatLnSpc="1">
            <a:prstTxWarp prst="textNoShape">
              <a:avLst/>
            </a:prstTxWarp>
          </a:bodyPr>
          <a:lstStyle>
            <a:lvl1pPr algn="r" defTabSz="943069">
              <a:spcBef>
                <a:spcPct val="0"/>
              </a:spcBef>
              <a:defRPr sz="13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5" tIns="148565" rIns="148565" bIns="148565" numCol="1" anchor="t" anchorCtr="0" compatLnSpc="1">
            <a:prstTxWarp prst="textNoShape">
              <a:avLst/>
            </a:prstTxWarp>
          </a:bodyPr>
          <a:lstStyle>
            <a:lvl1pPr defTabSz="943069">
              <a:spcBef>
                <a:spcPct val="0"/>
              </a:spcBef>
              <a:defRPr sz="13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1" y="0"/>
            <a:ext cx="3249477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5" tIns="148565" rIns="148565" bIns="148565" numCol="1" anchor="t" anchorCtr="0" compatLnSpc="1">
            <a:prstTxWarp prst="textNoShape">
              <a:avLst/>
            </a:prstTxWarp>
          </a:bodyPr>
          <a:lstStyle>
            <a:lvl1pPr algn="r" defTabSz="943069">
              <a:spcBef>
                <a:spcPct val="0"/>
              </a:spcBef>
              <a:defRPr sz="13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6"/>
            <a:ext cx="6626012" cy="4565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5" tIns="148565" rIns="148565" bIns="148565" numCol="1" anchor="b" anchorCtr="0" compatLnSpc="1">
            <a:prstTxWarp prst="textNoShape">
              <a:avLst/>
            </a:prstTxWarp>
          </a:bodyPr>
          <a:lstStyle>
            <a:lvl1pPr defTabSz="943069">
              <a:spcBef>
                <a:spcPct val="0"/>
              </a:spcBef>
              <a:defRPr sz="13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1" y="9682163"/>
            <a:ext cx="3249477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5" tIns="148565" rIns="148565" bIns="148565" numCol="1" anchor="b" anchorCtr="0" compatLnSpc="1">
            <a:prstTxWarp prst="textNoShape">
              <a:avLst/>
            </a:prstTxWarp>
          </a:bodyPr>
          <a:lstStyle>
            <a:lvl1pPr algn="r" defTabSz="943069">
              <a:spcBef>
                <a:spcPct val="0"/>
              </a:spcBef>
              <a:defRPr sz="13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3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49070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6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54289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7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54289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8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54289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2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2.xml"/><Relationship Id="rId7" Type="http://schemas.openxmlformats.org/officeDocument/2006/relationships/oleObject" Target="../embeddings/oleObject2.bin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4.xml"/><Relationship Id="rId10" Type="http://schemas.microsoft.com/office/2007/relationships/hdphoto" Target="../media/hdphoto1.wdp"/><Relationship Id="rId4" Type="http://schemas.openxmlformats.org/officeDocument/2006/relationships/tags" Target="../tags/tag33.xml"/><Relationship Id="rId9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.xml"/><Relationship Id="rId7" Type="http://schemas.openxmlformats.org/officeDocument/2006/relationships/oleObject" Target="../embeddings/oleObject3.bin"/><Relationship Id="rId2" Type="http://schemas.openxmlformats.org/officeDocument/2006/relationships/customXml" Target="../../customXml/item1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9.xml"/><Relationship Id="rId7" Type="http://schemas.openxmlformats.org/officeDocument/2006/relationships/oleObject" Target="../embeddings/oleObject4.bin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Relationship Id="rId9" Type="http://schemas.openxmlformats.org/officeDocument/2006/relationships/image" Target="../media/image5.w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5720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" name="think-cell Folie" r:id="rId7" imgW="216" imgH="216" progId="TCLayout.ActiveDocument.1">
                  <p:embed/>
                </p:oleObj>
              </mc:Choice>
              <mc:Fallback>
                <p:oleObj name="think-cell Folie" r:id="rId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0" name="Picture 2" descr="C:\Users\fbuser\AppData\Local\Temp\vmware-fbuser\VMwareDnD\d2c8782c\7886_Partikel_Visual_2048px_sRGB_171204-1.jpg"/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-100000"/>
                    </a14:imgEffect>
                    <a14:imgEffect>
                      <a14:brightnessContrast brigh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175"/>
            <a:ext cx="1220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rIns="2232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</a:t>
            </a:r>
            <a:endParaRPr lang="en-US" dirty="0"/>
          </a:p>
        </p:txBody>
      </p:sp>
      <p:sp>
        <p:nvSpPr>
          <p:cNvPr id="33" name="cdtText Box 133 Id16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endParaRPr lang="en-US" sz="1000" b="1" noProof="0" dirty="0">
              <a:solidFill>
                <a:schemeClr val="bg1"/>
              </a:solidFill>
            </a:endParaRPr>
          </a:p>
        </p:txBody>
      </p:sp>
      <p:sp>
        <p:nvSpPr>
          <p:cNvPr id="34" name="cdtTextBox 11 Id18"/>
          <p:cNvSpPr txBox="1"/>
          <p:nvPr userDrawn="1">
            <p:custDataLst>
              <p:tags r:id="rId4"/>
            </p:custDataLst>
          </p:nvPr>
        </p:nvSpPr>
        <p:spPr>
          <a:xfrm>
            <a:off x="0" y="6597650"/>
            <a:ext cx="338413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noProof="0" dirty="0">
                <a:solidFill>
                  <a:schemeClr val="bg1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chemeClr val="bg1"/>
                </a:solidFill>
              </a:rPr>
              <a:pPr marL="0" marR="0" indent="0" algn="l" defTabSz="914400" rtl="0" eaLnBrk="1" fontAlgn="base" latinLnBrk="0" hangingPunct="1">
                <a:lnSpc>
                  <a:spcPct val="11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noProof="0" dirty="0">
                <a:solidFill>
                  <a:schemeClr val="bg1"/>
                </a:solidFill>
              </a:rPr>
              <a:t> </a:t>
            </a:r>
            <a:r>
              <a:rPr lang="en-US" sz="1000" b="0" noProof="0" dirty="0">
                <a:solidFill>
                  <a:schemeClr val="bg1"/>
                </a:solidFill>
              </a:rPr>
              <a:t>| Unrestricted © Siemens AG 2018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noProof="0" dirty="0">
              <a:solidFill>
                <a:schemeClr val="bg1"/>
              </a:solidFill>
            </a:endParaRPr>
          </a:p>
        </p:txBody>
      </p:sp>
      <p:sp>
        <p:nvSpPr>
          <p:cNvPr id="35" name="cdtTextBox 13 Id19"/>
          <p:cNvSpPr txBox="1"/>
          <p:nvPr userDrawn="1">
            <p:custDataLst>
              <p:tags r:id="rId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chemeClr val="bg1"/>
                </a:solidFill>
              </a:rPr>
              <a:t>Anders Bylund</a:t>
            </a:r>
          </a:p>
        </p:txBody>
      </p:sp>
      <p:grpSp>
        <p:nvGrpSpPr>
          <p:cNvPr id="92" name="Group 33"/>
          <p:cNvGrpSpPr>
            <a:grpSpLocks noChangeAspect="1"/>
          </p:cNvGrpSpPr>
          <p:nvPr userDrawn="1"/>
        </p:nvGrpSpPr>
        <p:grpSpPr bwMode="auto">
          <a:xfrm>
            <a:off x="10093718" y="428789"/>
            <a:ext cx="1795417" cy="760412"/>
            <a:chOff x="6019" y="204"/>
            <a:chExt cx="1360" cy="576"/>
          </a:xfrm>
        </p:grpSpPr>
        <p:sp>
          <p:nvSpPr>
            <p:cNvPr id="93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94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9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9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9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9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9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6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7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8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9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2848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96800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6" name="think-cell Folie" r:id="rId7" imgW="216" imgH="216" progId="TCLayout.ActiveDocument.1">
                  <p:embed/>
                </p:oleObj>
              </mc:Choice>
              <mc:Fallback>
                <p:oleObj name="think-cell Folie" r:id="rId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7"/>
            <a:ext cx="8208962" cy="4643437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2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SI_copenhagen_1920x108_0517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174" y="-1"/>
            <a:ext cx="12194401" cy="6859351"/>
          </a:xfrm>
          <a:prstGeom prst="rect">
            <a:avLst/>
          </a:prstGeom>
        </p:spPr>
      </p:pic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99210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/>
              <a:t>Please insert Confidentiality note</a:t>
            </a:r>
            <a:endParaRPr lang="de-DE" dirty="0"/>
          </a:p>
        </p:txBody>
      </p:sp>
      <p:grpSp>
        <p:nvGrpSpPr>
          <p:cNvPr id="2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4877954"/>
            <a:ext cx="6480000" cy="924541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Building Technologies</a:t>
            </a: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endParaRPr lang="de-DE" dirty="0"/>
          </a:p>
        </p:txBody>
      </p:sp>
      <p:sp>
        <p:nvSpPr>
          <p:cNvPr id="57" name="Textplatzhalter 57343"/>
          <p:cNvSpPr>
            <a:spLocks noGrp="1"/>
          </p:cNvSpPr>
          <p:nvPr>
            <p:ph type="body" sz="quarter" idx="14" hasCustomPrompt="1"/>
          </p:nvPr>
        </p:nvSpPr>
        <p:spPr>
          <a:xfrm>
            <a:off x="636588" y="5898075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/>
              <a:t>Please insert confidentiality 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28864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7650158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" name="think-cell Folie" r:id="rId35" imgW="360" imgH="360" progId="TCLayout.ActiveDocument.1">
                  <p:embed/>
                </p:oleObj>
              </mc:Choice>
              <mc:Fallback>
                <p:oleObj name="think-cell Folie" r:id="rId35" imgW="360" imgH="360" progId="TCLayout.ActiveDocument.1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232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627063" y="1555199"/>
            <a:ext cx="8208962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3" name="cdtText Box 133 Id16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endParaRPr lang="en-US" sz="1000" b="1" noProof="0" dirty="0">
              <a:solidFill>
                <a:srgbClr val="879BAA"/>
              </a:solidFill>
            </a:endParaRPr>
          </a:p>
        </p:txBody>
      </p:sp>
      <p:sp>
        <p:nvSpPr>
          <p:cNvPr id="65" name="cdtTextBox 11 Id18"/>
          <p:cNvSpPr txBox="1"/>
          <p:nvPr>
            <p:custDataLst>
              <p:tags r:id="rId33"/>
            </p:custDataLst>
          </p:nvPr>
        </p:nvSpPr>
        <p:spPr>
          <a:xfrm>
            <a:off x="0" y="6597650"/>
            <a:ext cx="378776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r>
              <a:rPr lang="en-US" sz="1000" noProof="0" dirty="0">
                <a:solidFill>
                  <a:srgbClr val="000000"/>
                </a:solidFill>
              </a:rPr>
              <a:t> | Unrestricted © Siemens AG 2018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34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it-IT" sz="1000" noProof="0" dirty="0">
                <a:solidFill>
                  <a:srgbClr val="000000"/>
                </a:solidFill>
              </a:rPr>
              <a:t>Michael Peter | CEO Siemens </a:t>
            </a:r>
            <a:r>
              <a:rPr lang="en-US" sz="1000" noProof="0" dirty="0">
                <a:solidFill>
                  <a:srgbClr val="000000"/>
                </a:solidFill>
              </a:rPr>
              <a:t>Mobility</a:t>
            </a:r>
          </a:p>
        </p:txBody>
      </p:sp>
      <p:grpSp>
        <p:nvGrpSpPr>
          <p:cNvPr id="150" name="Group 33"/>
          <p:cNvGrpSpPr>
            <a:grpSpLocks noChangeAspect="1"/>
          </p:cNvGrpSpPr>
          <p:nvPr userDrawn="1"/>
        </p:nvGrpSpPr>
        <p:grpSpPr bwMode="auto">
          <a:xfrm>
            <a:off x="10093718" y="428789"/>
            <a:ext cx="1795417" cy="760412"/>
            <a:chOff x="6019" y="204"/>
            <a:chExt cx="1360" cy="576"/>
          </a:xfrm>
        </p:grpSpPr>
        <p:sp>
          <p:nvSpPr>
            <p:cNvPr id="151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52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53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5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5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5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5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5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5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7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7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7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7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7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7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7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7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0" r:id="rId2"/>
    <p:sldLayoutId id="2147483673" r:id="rId3"/>
  </p:sldLayoutIdLst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  <p:hf hdr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png"/><Relationship Id="rId2" Type="http://schemas.openxmlformats.org/officeDocument/2006/relationships/tags" Target="../tags/tag5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tags" Target="../tags/tag44.xml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9.jpeg"/><Relationship Id="rId2" Type="http://schemas.openxmlformats.org/officeDocument/2006/relationships/tags" Target="../tags/tag4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266454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0" name="think-cell Folie" r:id="rId6" imgW="216" imgH="216" progId="TCLayout.ActiveDocument.1">
                  <p:embed/>
                </p:oleObj>
              </mc:Choice>
              <mc:Fallback>
                <p:oleObj name="think-cell Foli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240048" y="6371839"/>
            <a:ext cx="2340000" cy="324000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Titel 1"/>
          <p:cNvSpPr>
            <a:spLocks noGrp="1"/>
          </p:cNvSpPr>
          <p:nvPr>
            <p:ph type="ctrTitle"/>
          </p:nvPr>
        </p:nvSpPr>
        <p:spPr>
          <a:xfrm>
            <a:off x="627061" y="4262399"/>
            <a:ext cx="9243079" cy="1540095"/>
          </a:xfrm>
        </p:spPr>
        <p:txBody>
          <a:bodyPr/>
          <a:lstStyle/>
          <a:p>
            <a:r>
              <a:rPr lang="de-DE" sz="3600" dirty="0" err="1"/>
              <a:t>Rethinking</a:t>
            </a:r>
            <a:r>
              <a:rPr lang="de-DE" sz="3600" dirty="0"/>
              <a:t> Transportation</a:t>
            </a:r>
            <a:br>
              <a:rPr lang="de-DE" sz="3600" dirty="0"/>
            </a:br>
            <a:r>
              <a:rPr lang="en-US" sz="2200" b="1" dirty="0"/>
              <a:t>Anders Bylund</a:t>
            </a:r>
            <a:br>
              <a:rPr lang="en-US" sz="2200" dirty="0"/>
            </a:br>
            <a:r>
              <a:rPr lang="en-US" sz="2200" dirty="0"/>
              <a:t>2019-02-14 @ </a:t>
            </a:r>
            <a:r>
              <a:rPr lang="en-US" sz="2200" dirty="0" err="1"/>
              <a:t>Mälardalsrådet</a:t>
            </a:r>
            <a:endParaRPr lang="en-US" sz="2200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627062" y="5907600"/>
            <a:ext cx="9243077" cy="324000"/>
          </a:xfrm>
        </p:spPr>
        <p:txBody>
          <a:bodyPr/>
          <a:lstStyle/>
          <a:p>
            <a:r>
              <a:rPr lang="de-DE" dirty="0"/>
              <a:t>siemens.com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2340000" cy="324000"/>
          </a:xfrm>
        </p:spPr>
        <p:txBody>
          <a:bodyPr/>
          <a:lstStyle/>
          <a:p>
            <a:r>
              <a:rPr lang="en-US" noProof="0" dirty="0"/>
              <a:t>Unrestricted © Siemens AG 2019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86296970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93172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4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ichtungspfeil 11"/>
          <p:cNvSpPr/>
          <p:nvPr/>
        </p:nvSpPr>
        <p:spPr bwMode="auto">
          <a:xfrm>
            <a:off x="4338320" y="1501775"/>
            <a:ext cx="5100320" cy="4787930"/>
          </a:xfrm>
          <a:prstGeom prst="homePlate">
            <a:avLst/>
          </a:prstGeom>
          <a:noFill/>
          <a:ln w="57150">
            <a:solidFill>
              <a:srgbClr val="32A0A0"/>
            </a:solidFill>
          </a:ln>
          <a:effectLst/>
          <a:extLst/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200" b="1" dirty="0">
              <a:solidFill>
                <a:srgbClr val="004669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Increase Throughput and Customer Experience by load prediction in the Digital Station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38503" y="1449551"/>
            <a:ext cx="3577897" cy="2300545"/>
          </a:xfrm>
          <a:prstGeom prst="rect">
            <a:avLst/>
          </a:prstGeom>
          <a:ln w="127000" cap="sq">
            <a:noFill/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38502" y="4027378"/>
            <a:ext cx="3577897" cy="2260131"/>
          </a:xfrm>
          <a:prstGeom prst="rect">
            <a:avLst/>
          </a:prstGeom>
          <a:noFill/>
          <a:ln w="9525">
            <a:solidFill>
              <a:srgbClr val="32A0A0"/>
            </a:solidFill>
            <a:miter lim="800000"/>
            <a:headEnd/>
            <a:tailEnd/>
          </a:ln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277668" y="1439999"/>
            <a:ext cx="3366123" cy="1565142"/>
          </a:xfrm>
          <a:prstGeom prst="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77669" y="3005141"/>
            <a:ext cx="3366122" cy="3294060"/>
          </a:xfrm>
          <a:prstGeom prst="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424680" y="2640464"/>
            <a:ext cx="3606800" cy="245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87618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039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1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w </a:t>
            </a:r>
            <a:r>
              <a:rPr lang="de-DE" dirty="0" err="1"/>
              <a:t>strategic</a:t>
            </a:r>
            <a:r>
              <a:rPr lang="de-DE" dirty="0"/>
              <a:t> </a:t>
            </a:r>
            <a:r>
              <a:rPr lang="de-DE" dirty="0" err="1"/>
              <a:t>priorities</a:t>
            </a:r>
            <a:r>
              <a:rPr lang="de-DE" dirty="0"/>
              <a:t>, New Business </a:t>
            </a:r>
            <a:r>
              <a:rPr lang="de-DE" dirty="0" err="1"/>
              <a:t>models</a:t>
            </a:r>
            <a:r>
              <a:rPr lang="de-DE" dirty="0"/>
              <a:t> and </a:t>
            </a:r>
            <a:r>
              <a:rPr lang="de-DE" dirty="0" err="1"/>
              <a:t>eco</a:t>
            </a:r>
            <a:r>
              <a:rPr lang="de-DE" dirty="0"/>
              <a:t>-system</a:t>
            </a:r>
            <a:endParaRPr lang="en-US" dirty="0"/>
          </a:p>
        </p:txBody>
      </p:sp>
      <p:sp>
        <p:nvSpPr>
          <p:cNvPr id="43" name="Freeform 129"/>
          <p:cNvSpPr>
            <a:spLocks noChangeAspect="1" noEditPoints="1"/>
          </p:cNvSpPr>
          <p:nvPr/>
        </p:nvSpPr>
        <p:spPr bwMode="gray">
          <a:xfrm>
            <a:off x="1612936" y="2575399"/>
            <a:ext cx="1093182" cy="1093182"/>
          </a:xfrm>
          <a:custGeom>
            <a:avLst/>
            <a:gdLst>
              <a:gd name="T0" fmla="*/ 1561 w 2400"/>
              <a:gd name="T1" fmla="*/ 1286 h 2400"/>
              <a:gd name="T2" fmla="*/ 1361 w 2400"/>
              <a:gd name="T3" fmla="*/ 1286 h 2400"/>
              <a:gd name="T4" fmla="*/ 1561 w 2400"/>
              <a:gd name="T5" fmla="*/ 998 h 2400"/>
              <a:gd name="T6" fmla="*/ 1561 w 2400"/>
              <a:gd name="T7" fmla="*/ 1286 h 2400"/>
              <a:gd name="T8" fmla="*/ 1557 w 2400"/>
              <a:gd name="T9" fmla="*/ 1566 h 2400"/>
              <a:gd name="T10" fmla="*/ 1714 w 2400"/>
              <a:gd name="T11" fmla="*/ 1566 h 2400"/>
              <a:gd name="T12" fmla="*/ 1714 w 2400"/>
              <a:gd name="T13" fmla="*/ 1403 h 2400"/>
              <a:gd name="T14" fmla="*/ 1810 w 2400"/>
              <a:gd name="T15" fmla="*/ 1403 h 2400"/>
              <a:gd name="T16" fmla="*/ 1810 w 2400"/>
              <a:gd name="T17" fmla="*/ 1286 h 2400"/>
              <a:gd name="T18" fmla="*/ 1714 w 2400"/>
              <a:gd name="T19" fmla="*/ 1286 h 2400"/>
              <a:gd name="T20" fmla="*/ 1714 w 2400"/>
              <a:gd name="T21" fmla="*/ 846 h 2400"/>
              <a:gd name="T22" fmla="*/ 1523 w 2400"/>
              <a:gd name="T23" fmla="*/ 846 h 2400"/>
              <a:gd name="T24" fmla="*/ 1211 w 2400"/>
              <a:gd name="T25" fmla="*/ 1276 h 2400"/>
              <a:gd name="T26" fmla="*/ 1211 w 2400"/>
              <a:gd name="T27" fmla="*/ 1403 h 2400"/>
              <a:gd name="T28" fmla="*/ 1557 w 2400"/>
              <a:gd name="T29" fmla="*/ 1403 h 2400"/>
              <a:gd name="T30" fmla="*/ 1557 w 2400"/>
              <a:gd name="T31" fmla="*/ 1566 h 2400"/>
              <a:gd name="T32" fmla="*/ 590 w 2400"/>
              <a:gd name="T33" fmla="*/ 1566 h 2400"/>
              <a:gd name="T34" fmla="*/ 1117 w 2400"/>
              <a:gd name="T35" fmla="*/ 1566 h 2400"/>
              <a:gd name="T36" fmla="*/ 1117 w 2400"/>
              <a:gd name="T37" fmla="*/ 1439 h 2400"/>
              <a:gd name="T38" fmla="*/ 816 w 2400"/>
              <a:gd name="T39" fmla="*/ 1439 h 2400"/>
              <a:gd name="T40" fmla="*/ 1111 w 2400"/>
              <a:gd name="T41" fmla="*/ 1044 h 2400"/>
              <a:gd name="T42" fmla="*/ 847 w 2400"/>
              <a:gd name="T43" fmla="*/ 834 h 2400"/>
              <a:gd name="T44" fmla="*/ 596 w 2400"/>
              <a:gd name="T45" fmla="*/ 884 h 2400"/>
              <a:gd name="T46" fmla="*/ 636 w 2400"/>
              <a:gd name="T47" fmla="*/ 1010 h 2400"/>
              <a:gd name="T48" fmla="*/ 829 w 2400"/>
              <a:gd name="T49" fmla="*/ 961 h 2400"/>
              <a:gd name="T50" fmla="*/ 948 w 2400"/>
              <a:gd name="T51" fmla="*/ 1051 h 2400"/>
              <a:gd name="T52" fmla="*/ 818 w 2400"/>
              <a:gd name="T53" fmla="*/ 1243 h 2400"/>
              <a:gd name="T54" fmla="*/ 590 w 2400"/>
              <a:gd name="T55" fmla="*/ 1444 h 2400"/>
              <a:gd name="T56" fmla="*/ 590 w 2400"/>
              <a:gd name="T57" fmla="*/ 1566 h 2400"/>
              <a:gd name="T58" fmla="*/ 2360 w 2400"/>
              <a:gd name="T59" fmla="*/ 480 h 2400"/>
              <a:gd name="T60" fmla="*/ 2360 w 2400"/>
              <a:gd name="T61" fmla="*/ 960 h 2400"/>
              <a:gd name="T62" fmla="*/ 1936 w 2400"/>
              <a:gd name="T63" fmla="*/ 706 h 2400"/>
              <a:gd name="T64" fmla="*/ 2072 w 2400"/>
              <a:gd name="T65" fmla="*/ 633 h 2400"/>
              <a:gd name="T66" fmla="*/ 1200 w 2400"/>
              <a:gd name="T67" fmla="*/ 160 h 2400"/>
              <a:gd name="T68" fmla="*/ 160 w 2400"/>
              <a:gd name="T69" fmla="*/ 1200 h 2400"/>
              <a:gd name="T70" fmla="*/ 0 w 2400"/>
              <a:gd name="T71" fmla="*/ 1200 h 2400"/>
              <a:gd name="T72" fmla="*/ 1200 w 2400"/>
              <a:gd name="T73" fmla="*/ 0 h 2400"/>
              <a:gd name="T74" fmla="*/ 2214 w 2400"/>
              <a:gd name="T75" fmla="*/ 558 h 2400"/>
              <a:gd name="T76" fmla="*/ 2360 w 2400"/>
              <a:gd name="T77" fmla="*/ 480 h 2400"/>
              <a:gd name="T78" fmla="*/ 186 w 2400"/>
              <a:gd name="T79" fmla="*/ 1842 h 2400"/>
              <a:gd name="T80" fmla="*/ 1200 w 2400"/>
              <a:gd name="T81" fmla="*/ 2400 h 2400"/>
              <a:gd name="T82" fmla="*/ 2400 w 2400"/>
              <a:gd name="T83" fmla="*/ 1200 h 2400"/>
              <a:gd name="T84" fmla="*/ 2240 w 2400"/>
              <a:gd name="T85" fmla="*/ 1200 h 2400"/>
              <a:gd name="T86" fmla="*/ 1200 w 2400"/>
              <a:gd name="T87" fmla="*/ 2240 h 2400"/>
              <a:gd name="T88" fmla="*/ 328 w 2400"/>
              <a:gd name="T89" fmla="*/ 1767 h 2400"/>
              <a:gd name="T90" fmla="*/ 464 w 2400"/>
              <a:gd name="T91" fmla="*/ 1694 h 2400"/>
              <a:gd name="T92" fmla="*/ 40 w 2400"/>
              <a:gd name="T93" fmla="*/ 1440 h 2400"/>
              <a:gd name="T94" fmla="*/ 40 w 2400"/>
              <a:gd name="T95" fmla="*/ 1920 h 2400"/>
              <a:gd name="T96" fmla="*/ 186 w 2400"/>
              <a:gd name="T97" fmla="*/ 1842 h 2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400" h="2400">
                <a:moveTo>
                  <a:pt x="1561" y="1286"/>
                </a:moveTo>
                <a:cubicBezTo>
                  <a:pt x="1361" y="1286"/>
                  <a:pt x="1361" y="1286"/>
                  <a:pt x="1361" y="1286"/>
                </a:cubicBezTo>
                <a:cubicBezTo>
                  <a:pt x="1561" y="998"/>
                  <a:pt x="1561" y="998"/>
                  <a:pt x="1561" y="998"/>
                </a:cubicBezTo>
                <a:lnTo>
                  <a:pt x="1561" y="1286"/>
                </a:lnTo>
                <a:close/>
                <a:moveTo>
                  <a:pt x="1557" y="1566"/>
                </a:moveTo>
                <a:cubicBezTo>
                  <a:pt x="1714" y="1566"/>
                  <a:pt x="1714" y="1566"/>
                  <a:pt x="1714" y="1566"/>
                </a:cubicBezTo>
                <a:cubicBezTo>
                  <a:pt x="1714" y="1403"/>
                  <a:pt x="1714" y="1403"/>
                  <a:pt x="1714" y="1403"/>
                </a:cubicBezTo>
                <a:cubicBezTo>
                  <a:pt x="1810" y="1403"/>
                  <a:pt x="1810" y="1403"/>
                  <a:pt x="1810" y="1403"/>
                </a:cubicBezTo>
                <a:cubicBezTo>
                  <a:pt x="1810" y="1286"/>
                  <a:pt x="1810" y="1286"/>
                  <a:pt x="1810" y="1286"/>
                </a:cubicBezTo>
                <a:cubicBezTo>
                  <a:pt x="1714" y="1286"/>
                  <a:pt x="1714" y="1286"/>
                  <a:pt x="1714" y="1286"/>
                </a:cubicBezTo>
                <a:cubicBezTo>
                  <a:pt x="1714" y="846"/>
                  <a:pt x="1714" y="846"/>
                  <a:pt x="1714" y="846"/>
                </a:cubicBezTo>
                <a:cubicBezTo>
                  <a:pt x="1523" y="846"/>
                  <a:pt x="1523" y="846"/>
                  <a:pt x="1523" y="846"/>
                </a:cubicBezTo>
                <a:cubicBezTo>
                  <a:pt x="1211" y="1276"/>
                  <a:pt x="1211" y="1276"/>
                  <a:pt x="1211" y="1276"/>
                </a:cubicBezTo>
                <a:cubicBezTo>
                  <a:pt x="1211" y="1403"/>
                  <a:pt x="1211" y="1403"/>
                  <a:pt x="1211" y="1403"/>
                </a:cubicBezTo>
                <a:cubicBezTo>
                  <a:pt x="1557" y="1403"/>
                  <a:pt x="1557" y="1403"/>
                  <a:pt x="1557" y="1403"/>
                </a:cubicBezTo>
                <a:lnTo>
                  <a:pt x="1557" y="1566"/>
                </a:lnTo>
                <a:close/>
                <a:moveTo>
                  <a:pt x="590" y="1566"/>
                </a:moveTo>
                <a:cubicBezTo>
                  <a:pt x="1117" y="1566"/>
                  <a:pt x="1117" y="1566"/>
                  <a:pt x="1117" y="1566"/>
                </a:cubicBezTo>
                <a:cubicBezTo>
                  <a:pt x="1117" y="1439"/>
                  <a:pt x="1117" y="1439"/>
                  <a:pt x="1117" y="1439"/>
                </a:cubicBezTo>
                <a:cubicBezTo>
                  <a:pt x="816" y="1439"/>
                  <a:pt x="816" y="1439"/>
                  <a:pt x="816" y="1439"/>
                </a:cubicBezTo>
                <a:cubicBezTo>
                  <a:pt x="1053" y="1234"/>
                  <a:pt x="1111" y="1157"/>
                  <a:pt x="1111" y="1044"/>
                </a:cubicBezTo>
                <a:cubicBezTo>
                  <a:pt x="1111" y="910"/>
                  <a:pt x="1016" y="834"/>
                  <a:pt x="847" y="834"/>
                </a:cubicBezTo>
                <a:cubicBezTo>
                  <a:pt x="762" y="834"/>
                  <a:pt x="683" y="850"/>
                  <a:pt x="596" y="884"/>
                </a:cubicBezTo>
                <a:cubicBezTo>
                  <a:pt x="636" y="1010"/>
                  <a:pt x="636" y="1010"/>
                  <a:pt x="636" y="1010"/>
                </a:cubicBezTo>
                <a:cubicBezTo>
                  <a:pt x="715" y="976"/>
                  <a:pt x="776" y="961"/>
                  <a:pt x="829" y="961"/>
                </a:cubicBezTo>
                <a:cubicBezTo>
                  <a:pt x="899" y="961"/>
                  <a:pt x="948" y="997"/>
                  <a:pt x="948" y="1051"/>
                </a:cubicBezTo>
                <a:cubicBezTo>
                  <a:pt x="948" y="1103"/>
                  <a:pt x="920" y="1145"/>
                  <a:pt x="818" y="1243"/>
                </a:cubicBezTo>
                <a:cubicBezTo>
                  <a:pt x="769" y="1289"/>
                  <a:pt x="689" y="1360"/>
                  <a:pt x="590" y="1444"/>
                </a:cubicBezTo>
                <a:lnTo>
                  <a:pt x="590" y="1566"/>
                </a:lnTo>
                <a:close/>
                <a:moveTo>
                  <a:pt x="2360" y="480"/>
                </a:moveTo>
                <a:cubicBezTo>
                  <a:pt x="2360" y="960"/>
                  <a:pt x="2360" y="960"/>
                  <a:pt x="2360" y="960"/>
                </a:cubicBezTo>
                <a:cubicBezTo>
                  <a:pt x="1936" y="706"/>
                  <a:pt x="1936" y="706"/>
                  <a:pt x="1936" y="706"/>
                </a:cubicBezTo>
                <a:cubicBezTo>
                  <a:pt x="2072" y="633"/>
                  <a:pt x="2072" y="633"/>
                  <a:pt x="2072" y="633"/>
                </a:cubicBezTo>
                <a:cubicBezTo>
                  <a:pt x="1887" y="348"/>
                  <a:pt x="1565" y="160"/>
                  <a:pt x="1200" y="160"/>
                </a:cubicBezTo>
                <a:cubicBezTo>
                  <a:pt x="626" y="160"/>
                  <a:pt x="160" y="626"/>
                  <a:pt x="160" y="1200"/>
                </a:cubicBezTo>
                <a:cubicBezTo>
                  <a:pt x="0" y="1200"/>
                  <a:pt x="0" y="1200"/>
                  <a:pt x="0" y="1200"/>
                </a:cubicBezTo>
                <a:cubicBezTo>
                  <a:pt x="0" y="537"/>
                  <a:pt x="537" y="0"/>
                  <a:pt x="1200" y="0"/>
                </a:cubicBezTo>
                <a:cubicBezTo>
                  <a:pt x="1627" y="0"/>
                  <a:pt x="2001" y="223"/>
                  <a:pt x="2214" y="558"/>
                </a:cubicBezTo>
                <a:lnTo>
                  <a:pt x="2360" y="480"/>
                </a:lnTo>
                <a:close/>
                <a:moveTo>
                  <a:pt x="186" y="1842"/>
                </a:moveTo>
                <a:cubicBezTo>
                  <a:pt x="399" y="2177"/>
                  <a:pt x="773" y="2400"/>
                  <a:pt x="1200" y="2400"/>
                </a:cubicBezTo>
                <a:cubicBezTo>
                  <a:pt x="1863" y="2400"/>
                  <a:pt x="2400" y="1863"/>
                  <a:pt x="2400" y="1200"/>
                </a:cubicBezTo>
                <a:cubicBezTo>
                  <a:pt x="2240" y="1200"/>
                  <a:pt x="2240" y="1200"/>
                  <a:pt x="2240" y="1200"/>
                </a:cubicBezTo>
                <a:cubicBezTo>
                  <a:pt x="2240" y="1774"/>
                  <a:pt x="1774" y="2240"/>
                  <a:pt x="1200" y="2240"/>
                </a:cubicBezTo>
                <a:cubicBezTo>
                  <a:pt x="835" y="2240"/>
                  <a:pt x="513" y="2052"/>
                  <a:pt x="328" y="1767"/>
                </a:cubicBezTo>
                <a:cubicBezTo>
                  <a:pt x="464" y="1694"/>
                  <a:pt x="464" y="1694"/>
                  <a:pt x="464" y="1694"/>
                </a:cubicBezTo>
                <a:cubicBezTo>
                  <a:pt x="40" y="1440"/>
                  <a:pt x="40" y="1440"/>
                  <a:pt x="40" y="1440"/>
                </a:cubicBezTo>
                <a:cubicBezTo>
                  <a:pt x="40" y="1920"/>
                  <a:pt x="40" y="1920"/>
                  <a:pt x="40" y="1920"/>
                </a:cubicBezTo>
                <a:lnTo>
                  <a:pt x="186" y="184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8" name="Freeform 6"/>
          <p:cNvSpPr>
            <a:spLocks noChangeAspect="1" noEditPoints="1"/>
          </p:cNvSpPr>
          <p:nvPr/>
        </p:nvSpPr>
        <p:spPr bwMode="auto">
          <a:xfrm>
            <a:off x="5156096" y="2651016"/>
            <a:ext cx="1578079" cy="941948"/>
          </a:xfrm>
          <a:custGeom>
            <a:avLst/>
            <a:gdLst>
              <a:gd name="T0" fmla="*/ 4430 w 4430"/>
              <a:gd name="T1" fmla="*/ 579 h 2645"/>
              <a:gd name="T2" fmla="*/ 4104 w 4430"/>
              <a:gd name="T3" fmla="*/ 351 h 2645"/>
              <a:gd name="T4" fmla="*/ 3951 w 4430"/>
              <a:gd name="T5" fmla="*/ 239 h 2645"/>
              <a:gd name="T6" fmla="*/ 3633 w 4430"/>
              <a:gd name="T7" fmla="*/ 0 h 2645"/>
              <a:gd name="T8" fmla="*/ 3387 w 4430"/>
              <a:gd name="T9" fmla="*/ 80 h 2645"/>
              <a:gd name="T10" fmla="*/ 3270 w 4430"/>
              <a:gd name="T11" fmla="*/ 461 h 2645"/>
              <a:gd name="T12" fmla="*/ 3212 w 4430"/>
              <a:gd name="T13" fmla="*/ 640 h 2645"/>
              <a:gd name="T14" fmla="*/ 3024 w 4430"/>
              <a:gd name="T15" fmla="*/ 838 h 2645"/>
              <a:gd name="T16" fmla="*/ 3350 w 4430"/>
              <a:gd name="T17" fmla="*/ 1066 h 2645"/>
              <a:gd name="T18" fmla="*/ 3503 w 4430"/>
              <a:gd name="T19" fmla="*/ 1177 h 2645"/>
              <a:gd name="T20" fmla="*/ 3822 w 4430"/>
              <a:gd name="T21" fmla="*/ 1417 h 2645"/>
              <a:gd name="T22" fmla="*/ 4067 w 4430"/>
              <a:gd name="T23" fmla="*/ 1337 h 2645"/>
              <a:gd name="T24" fmla="*/ 4184 w 4430"/>
              <a:gd name="T25" fmla="*/ 956 h 2645"/>
              <a:gd name="T26" fmla="*/ 4242 w 4430"/>
              <a:gd name="T27" fmla="*/ 776 h 2645"/>
              <a:gd name="T28" fmla="*/ 3491 w 4430"/>
              <a:gd name="T29" fmla="*/ 708 h 2645"/>
              <a:gd name="T30" fmla="*/ 3727 w 4430"/>
              <a:gd name="T31" fmla="*/ 945 h 2645"/>
              <a:gd name="T32" fmla="*/ 740 w 4430"/>
              <a:gd name="T33" fmla="*/ 535 h 2645"/>
              <a:gd name="T34" fmla="*/ 567 w 4430"/>
              <a:gd name="T35" fmla="*/ 463 h 2645"/>
              <a:gd name="T36" fmla="*/ 316 w 4430"/>
              <a:gd name="T37" fmla="*/ 644 h 2645"/>
              <a:gd name="T38" fmla="*/ 182 w 4430"/>
              <a:gd name="T39" fmla="*/ 778 h 2645"/>
              <a:gd name="T40" fmla="*/ 0 w 4430"/>
              <a:gd name="T41" fmla="*/ 1030 h 2645"/>
              <a:gd name="T42" fmla="*/ 72 w 4430"/>
              <a:gd name="T43" fmla="*/ 1203 h 2645"/>
              <a:gd name="T44" fmla="*/ 378 w 4430"/>
              <a:gd name="T45" fmla="*/ 1252 h 2645"/>
              <a:gd name="T46" fmla="*/ 567 w 4430"/>
              <a:gd name="T47" fmla="*/ 1252 h 2645"/>
              <a:gd name="T48" fmla="*/ 874 w 4430"/>
              <a:gd name="T49" fmla="*/ 1203 h 2645"/>
              <a:gd name="T50" fmla="*/ 945 w 4430"/>
              <a:gd name="T51" fmla="*/ 1030 h 2645"/>
              <a:gd name="T52" fmla="*/ 764 w 4430"/>
              <a:gd name="T53" fmla="*/ 778 h 2645"/>
              <a:gd name="T54" fmla="*/ 471 w 4430"/>
              <a:gd name="T55" fmla="*/ 791 h 2645"/>
              <a:gd name="T56" fmla="*/ 2746 w 4430"/>
              <a:gd name="T57" fmla="*/ 1358 h 2645"/>
              <a:gd name="T58" fmla="*/ 2604 w 4430"/>
              <a:gd name="T59" fmla="*/ 1112 h 2645"/>
              <a:gd name="T60" fmla="*/ 2429 w 4430"/>
              <a:gd name="T61" fmla="*/ 635 h 2645"/>
              <a:gd name="T62" fmla="*/ 2174 w 4430"/>
              <a:gd name="T63" fmla="*/ 567 h 2645"/>
              <a:gd name="T64" fmla="*/ 1783 w 4430"/>
              <a:gd name="T65" fmla="*/ 892 h 2645"/>
              <a:gd name="T66" fmla="*/ 1538 w 4430"/>
              <a:gd name="T67" fmla="*/ 1034 h 2645"/>
              <a:gd name="T68" fmla="*/ 1061 w 4430"/>
              <a:gd name="T69" fmla="*/ 1209 h 2645"/>
              <a:gd name="T70" fmla="*/ 993 w 4430"/>
              <a:gd name="T71" fmla="*/ 1464 h 2645"/>
              <a:gd name="T72" fmla="*/ 1318 w 4430"/>
              <a:gd name="T73" fmla="*/ 1855 h 2645"/>
              <a:gd name="T74" fmla="*/ 1460 w 4430"/>
              <a:gd name="T75" fmla="*/ 2100 h 2645"/>
              <a:gd name="T76" fmla="*/ 1635 w 4430"/>
              <a:gd name="T77" fmla="*/ 2577 h 2645"/>
              <a:gd name="T78" fmla="*/ 1890 w 4430"/>
              <a:gd name="T79" fmla="*/ 2645 h 2645"/>
              <a:gd name="T80" fmla="*/ 2280 w 4430"/>
              <a:gd name="T81" fmla="*/ 2320 h 2645"/>
              <a:gd name="T82" fmla="*/ 2526 w 4430"/>
              <a:gd name="T83" fmla="*/ 2178 h 2645"/>
              <a:gd name="T84" fmla="*/ 3003 w 4430"/>
              <a:gd name="T85" fmla="*/ 2003 h 2645"/>
              <a:gd name="T86" fmla="*/ 3071 w 4430"/>
              <a:gd name="T87" fmla="*/ 1748 h 2645"/>
              <a:gd name="T88" fmla="*/ 2746 w 4430"/>
              <a:gd name="T89" fmla="*/ 1358 h 2645"/>
              <a:gd name="T90" fmla="*/ 2323 w 4430"/>
              <a:gd name="T91" fmla="*/ 1763 h 2645"/>
              <a:gd name="T92" fmla="*/ 2189 w 4430"/>
              <a:gd name="T93" fmla="*/ 1897 h 2645"/>
              <a:gd name="T94" fmla="*/ 1937 w 4430"/>
              <a:gd name="T95" fmla="*/ 2079 h 2645"/>
              <a:gd name="T96" fmla="*/ 1765 w 4430"/>
              <a:gd name="T97" fmla="*/ 2007 h 2645"/>
              <a:gd name="T98" fmla="*/ 1715 w 4430"/>
              <a:gd name="T99" fmla="*/ 1701 h 2645"/>
              <a:gd name="T100" fmla="*/ 1715 w 4430"/>
              <a:gd name="T101" fmla="*/ 1512 h 2645"/>
              <a:gd name="T102" fmla="*/ 1765 w 4430"/>
              <a:gd name="T103" fmla="*/ 1205 h 2645"/>
              <a:gd name="T104" fmla="*/ 1937 w 4430"/>
              <a:gd name="T105" fmla="*/ 1134 h 2645"/>
              <a:gd name="T106" fmla="*/ 2189 w 4430"/>
              <a:gd name="T107" fmla="*/ 1315 h 2645"/>
              <a:gd name="T108" fmla="*/ 2323 w 4430"/>
              <a:gd name="T109" fmla="*/ 1449 h 2645"/>
              <a:gd name="T110" fmla="*/ 2504 w 4430"/>
              <a:gd name="T111" fmla="*/ 1701 h 2645"/>
              <a:gd name="T112" fmla="*/ 1878 w 4430"/>
              <a:gd name="T113" fmla="*/ 1608 h 26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430" h="2645">
                <a:moveTo>
                  <a:pt x="4247" y="708"/>
                </a:moveTo>
                <a:cubicBezTo>
                  <a:pt x="4247" y="685"/>
                  <a:pt x="4245" y="663"/>
                  <a:pt x="4242" y="640"/>
                </a:cubicBezTo>
                <a:lnTo>
                  <a:pt x="4430" y="579"/>
                </a:lnTo>
                <a:lnTo>
                  <a:pt x="4372" y="400"/>
                </a:lnTo>
                <a:lnTo>
                  <a:pt x="4184" y="461"/>
                </a:lnTo>
                <a:cubicBezTo>
                  <a:pt x="4162" y="420"/>
                  <a:pt x="4135" y="384"/>
                  <a:pt x="4104" y="351"/>
                </a:cubicBezTo>
                <a:lnTo>
                  <a:pt x="4220" y="191"/>
                </a:lnTo>
                <a:lnTo>
                  <a:pt x="4067" y="80"/>
                </a:lnTo>
                <a:lnTo>
                  <a:pt x="3951" y="239"/>
                </a:lnTo>
                <a:cubicBezTo>
                  <a:pt x="3911" y="220"/>
                  <a:pt x="3867" y="206"/>
                  <a:pt x="3822" y="197"/>
                </a:cubicBezTo>
                <a:lnTo>
                  <a:pt x="3822" y="0"/>
                </a:lnTo>
                <a:lnTo>
                  <a:pt x="3633" y="0"/>
                </a:lnTo>
                <a:lnTo>
                  <a:pt x="3633" y="197"/>
                </a:lnTo>
                <a:cubicBezTo>
                  <a:pt x="3587" y="206"/>
                  <a:pt x="3544" y="220"/>
                  <a:pt x="3503" y="239"/>
                </a:cubicBezTo>
                <a:lnTo>
                  <a:pt x="3387" y="80"/>
                </a:lnTo>
                <a:lnTo>
                  <a:pt x="3234" y="191"/>
                </a:lnTo>
                <a:lnTo>
                  <a:pt x="3350" y="351"/>
                </a:lnTo>
                <a:cubicBezTo>
                  <a:pt x="3319" y="384"/>
                  <a:pt x="3292" y="420"/>
                  <a:pt x="3270" y="461"/>
                </a:cubicBezTo>
                <a:lnTo>
                  <a:pt x="3082" y="400"/>
                </a:lnTo>
                <a:lnTo>
                  <a:pt x="3024" y="579"/>
                </a:lnTo>
                <a:lnTo>
                  <a:pt x="3212" y="640"/>
                </a:lnTo>
                <a:cubicBezTo>
                  <a:pt x="3209" y="663"/>
                  <a:pt x="3208" y="685"/>
                  <a:pt x="3208" y="708"/>
                </a:cubicBezTo>
                <a:cubicBezTo>
                  <a:pt x="3208" y="731"/>
                  <a:pt x="3209" y="754"/>
                  <a:pt x="3212" y="776"/>
                </a:cubicBezTo>
                <a:lnTo>
                  <a:pt x="3024" y="838"/>
                </a:lnTo>
                <a:lnTo>
                  <a:pt x="3082" y="1017"/>
                </a:lnTo>
                <a:lnTo>
                  <a:pt x="3270" y="956"/>
                </a:lnTo>
                <a:cubicBezTo>
                  <a:pt x="3292" y="996"/>
                  <a:pt x="3319" y="1033"/>
                  <a:pt x="3350" y="1066"/>
                </a:cubicBezTo>
                <a:lnTo>
                  <a:pt x="3234" y="1226"/>
                </a:lnTo>
                <a:lnTo>
                  <a:pt x="3387" y="1337"/>
                </a:lnTo>
                <a:lnTo>
                  <a:pt x="3503" y="1177"/>
                </a:lnTo>
                <a:cubicBezTo>
                  <a:pt x="3544" y="1197"/>
                  <a:pt x="3587" y="1211"/>
                  <a:pt x="3633" y="1219"/>
                </a:cubicBezTo>
                <a:lnTo>
                  <a:pt x="3633" y="1417"/>
                </a:lnTo>
                <a:lnTo>
                  <a:pt x="3822" y="1417"/>
                </a:lnTo>
                <a:lnTo>
                  <a:pt x="3822" y="1219"/>
                </a:lnTo>
                <a:cubicBezTo>
                  <a:pt x="3867" y="1211"/>
                  <a:pt x="3911" y="1197"/>
                  <a:pt x="3951" y="1177"/>
                </a:cubicBezTo>
                <a:lnTo>
                  <a:pt x="4067" y="1337"/>
                </a:lnTo>
                <a:lnTo>
                  <a:pt x="4220" y="1226"/>
                </a:lnTo>
                <a:lnTo>
                  <a:pt x="4104" y="1066"/>
                </a:lnTo>
                <a:cubicBezTo>
                  <a:pt x="4135" y="1033"/>
                  <a:pt x="4162" y="996"/>
                  <a:pt x="4184" y="956"/>
                </a:cubicBezTo>
                <a:lnTo>
                  <a:pt x="4372" y="1017"/>
                </a:lnTo>
                <a:lnTo>
                  <a:pt x="4430" y="838"/>
                </a:lnTo>
                <a:lnTo>
                  <a:pt x="4242" y="776"/>
                </a:lnTo>
                <a:cubicBezTo>
                  <a:pt x="4245" y="754"/>
                  <a:pt x="4247" y="731"/>
                  <a:pt x="4247" y="708"/>
                </a:cubicBezTo>
                <a:close/>
                <a:moveTo>
                  <a:pt x="3727" y="945"/>
                </a:moveTo>
                <a:cubicBezTo>
                  <a:pt x="3597" y="945"/>
                  <a:pt x="3491" y="839"/>
                  <a:pt x="3491" y="708"/>
                </a:cubicBezTo>
                <a:cubicBezTo>
                  <a:pt x="3491" y="578"/>
                  <a:pt x="3597" y="472"/>
                  <a:pt x="3727" y="472"/>
                </a:cubicBezTo>
                <a:cubicBezTo>
                  <a:pt x="3858" y="472"/>
                  <a:pt x="3963" y="578"/>
                  <a:pt x="3963" y="708"/>
                </a:cubicBezTo>
                <a:cubicBezTo>
                  <a:pt x="3963" y="839"/>
                  <a:pt x="3858" y="945"/>
                  <a:pt x="3727" y="945"/>
                </a:cubicBezTo>
                <a:close/>
                <a:moveTo>
                  <a:pt x="764" y="778"/>
                </a:moveTo>
                <a:lnTo>
                  <a:pt x="874" y="668"/>
                </a:lnTo>
                <a:lnTo>
                  <a:pt x="740" y="535"/>
                </a:lnTo>
                <a:lnTo>
                  <a:pt x="630" y="644"/>
                </a:lnTo>
                <a:cubicBezTo>
                  <a:pt x="610" y="634"/>
                  <a:pt x="589" y="625"/>
                  <a:pt x="567" y="619"/>
                </a:cubicBezTo>
                <a:lnTo>
                  <a:pt x="567" y="463"/>
                </a:lnTo>
                <a:lnTo>
                  <a:pt x="378" y="463"/>
                </a:lnTo>
                <a:lnTo>
                  <a:pt x="378" y="619"/>
                </a:lnTo>
                <a:cubicBezTo>
                  <a:pt x="356" y="625"/>
                  <a:pt x="335" y="634"/>
                  <a:pt x="316" y="644"/>
                </a:cubicBezTo>
                <a:lnTo>
                  <a:pt x="206" y="535"/>
                </a:lnTo>
                <a:lnTo>
                  <a:pt x="72" y="668"/>
                </a:lnTo>
                <a:lnTo>
                  <a:pt x="182" y="778"/>
                </a:lnTo>
                <a:cubicBezTo>
                  <a:pt x="171" y="798"/>
                  <a:pt x="163" y="819"/>
                  <a:pt x="156" y="841"/>
                </a:cubicBezTo>
                <a:lnTo>
                  <a:pt x="0" y="841"/>
                </a:lnTo>
                <a:lnTo>
                  <a:pt x="0" y="1030"/>
                </a:lnTo>
                <a:lnTo>
                  <a:pt x="156" y="1030"/>
                </a:lnTo>
                <a:cubicBezTo>
                  <a:pt x="163" y="1052"/>
                  <a:pt x="171" y="1073"/>
                  <a:pt x="182" y="1093"/>
                </a:cubicBezTo>
                <a:lnTo>
                  <a:pt x="72" y="1203"/>
                </a:lnTo>
                <a:lnTo>
                  <a:pt x="206" y="1336"/>
                </a:lnTo>
                <a:lnTo>
                  <a:pt x="316" y="1226"/>
                </a:lnTo>
                <a:cubicBezTo>
                  <a:pt x="335" y="1237"/>
                  <a:pt x="356" y="1246"/>
                  <a:pt x="378" y="1252"/>
                </a:cubicBezTo>
                <a:lnTo>
                  <a:pt x="378" y="1408"/>
                </a:lnTo>
                <a:lnTo>
                  <a:pt x="567" y="1408"/>
                </a:lnTo>
                <a:lnTo>
                  <a:pt x="567" y="1252"/>
                </a:lnTo>
                <a:cubicBezTo>
                  <a:pt x="589" y="1246"/>
                  <a:pt x="610" y="1237"/>
                  <a:pt x="630" y="1226"/>
                </a:cubicBezTo>
                <a:lnTo>
                  <a:pt x="740" y="1336"/>
                </a:lnTo>
                <a:lnTo>
                  <a:pt x="874" y="1203"/>
                </a:lnTo>
                <a:lnTo>
                  <a:pt x="764" y="1093"/>
                </a:lnTo>
                <a:cubicBezTo>
                  <a:pt x="774" y="1073"/>
                  <a:pt x="783" y="1052"/>
                  <a:pt x="790" y="1030"/>
                </a:cubicBezTo>
                <a:lnTo>
                  <a:pt x="945" y="1030"/>
                </a:lnTo>
                <a:lnTo>
                  <a:pt x="945" y="841"/>
                </a:lnTo>
                <a:lnTo>
                  <a:pt x="790" y="841"/>
                </a:lnTo>
                <a:cubicBezTo>
                  <a:pt x="783" y="819"/>
                  <a:pt x="774" y="798"/>
                  <a:pt x="764" y="778"/>
                </a:cubicBezTo>
                <a:close/>
                <a:moveTo>
                  <a:pt x="475" y="1079"/>
                </a:moveTo>
                <a:cubicBezTo>
                  <a:pt x="395" y="1080"/>
                  <a:pt x="330" y="1017"/>
                  <a:pt x="329" y="937"/>
                </a:cubicBezTo>
                <a:cubicBezTo>
                  <a:pt x="328" y="858"/>
                  <a:pt x="391" y="792"/>
                  <a:pt x="471" y="791"/>
                </a:cubicBezTo>
                <a:cubicBezTo>
                  <a:pt x="551" y="790"/>
                  <a:pt x="616" y="854"/>
                  <a:pt x="617" y="934"/>
                </a:cubicBezTo>
                <a:cubicBezTo>
                  <a:pt x="618" y="1013"/>
                  <a:pt x="554" y="1078"/>
                  <a:pt x="475" y="1079"/>
                </a:cubicBezTo>
                <a:close/>
                <a:moveTo>
                  <a:pt x="2746" y="1358"/>
                </a:moveTo>
                <a:lnTo>
                  <a:pt x="3003" y="1209"/>
                </a:lnTo>
                <a:lnTo>
                  <a:pt x="2861" y="964"/>
                </a:lnTo>
                <a:lnTo>
                  <a:pt x="2604" y="1112"/>
                </a:lnTo>
                <a:cubicBezTo>
                  <a:pt x="2580" y="1084"/>
                  <a:pt x="2554" y="1058"/>
                  <a:pt x="2526" y="1034"/>
                </a:cubicBezTo>
                <a:lnTo>
                  <a:pt x="2674" y="777"/>
                </a:lnTo>
                <a:lnTo>
                  <a:pt x="2429" y="635"/>
                </a:lnTo>
                <a:lnTo>
                  <a:pt x="2280" y="892"/>
                </a:lnTo>
                <a:cubicBezTo>
                  <a:pt x="2246" y="880"/>
                  <a:pt x="2210" y="871"/>
                  <a:pt x="2174" y="864"/>
                </a:cubicBezTo>
                <a:lnTo>
                  <a:pt x="2174" y="567"/>
                </a:lnTo>
                <a:lnTo>
                  <a:pt x="1890" y="567"/>
                </a:lnTo>
                <a:lnTo>
                  <a:pt x="1890" y="864"/>
                </a:lnTo>
                <a:cubicBezTo>
                  <a:pt x="1854" y="871"/>
                  <a:pt x="1818" y="880"/>
                  <a:pt x="1783" y="892"/>
                </a:cubicBezTo>
                <a:lnTo>
                  <a:pt x="1635" y="635"/>
                </a:lnTo>
                <a:lnTo>
                  <a:pt x="1389" y="777"/>
                </a:lnTo>
                <a:lnTo>
                  <a:pt x="1538" y="1034"/>
                </a:lnTo>
                <a:cubicBezTo>
                  <a:pt x="1510" y="1058"/>
                  <a:pt x="1484" y="1084"/>
                  <a:pt x="1460" y="1112"/>
                </a:cubicBezTo>
                <a:lnTo>
                  <a:pt x="1203" y="964"/>
                </a:lnTo>
                <a:lnTo>
                  <a:pt x="1061" y="1209"/>
                </a:lnTo>
                <a:lnTo>
                  <a:pt x="1318" y="1358"/>
                </a:lnTo>
                <a:cubicBezTo>
                  <a:pt x="1306" y="1392"/>
                  <a:pt x="1296" y="1428"/>
                  <a:pt x="1289" y="1464"/>
                </a:cubicBezTo>
                <a:lnTo>
                  <a:pt x="993" y="1464"/>
                </a:lnTo>
                <a:lnTo>
                  <a:pt x="993" y="1748"/>
                </a:lnTo>
                <a:lnTo>
                  <a:pt x="1289" y="1748"/>
                </a:lnTo>
                <a:cubicBezTo>
                  <a:pt x="1296" y="1784"/>
                  <a:pt x="1306" y="1820"/>
                  <a:pt x="1318" y="1855"/>
                </a:cubicBezTo>
                <a:lnTo>
                  <a:pt x="1061" y="2003"/>
                </a:lnTo>
                <a:lnTo>
                  <a:pt x="1203" y="2249"/>
                </a:lnTo>
                <a:lnTo>
                  <a:pt x="1460" y="2100"/>
                </a:lnTo>
                <a:cubicBezTo>
                  <a:pt x="1484" y="2128"/>
                  <a:pt x="1510" y="2154"/>
                  <a:pt x="1538" y="2178"/>
                </a:cubicBezTo>
                <a:lnTo>
                  <a:pt x="1389" y="2435"/>
                </a:lnTo>
                <a:lnTo>
                  <a:pt x="1635" y="2577"/>
                </a:lnTo>
                <a:lnTo>
                  <a:pt x="1783" y="2320"/>
                </a:lnTo>
                <a:cubicBezTo>
                  <a:pt x="1818" y="2332"/>
                  <a:pt x="1854" y="2342"/>
                  <a:pt x="1890" y="2349"/>
                </a:cubicBezTo>
                <a:lnTo>
                  <a:pt x="1890" y="2645"/>
                </a:lnTo>
                <a:lnTo>
                  <a:pt x="2174" y="2645"/>
                </a:lnTo>
                <a:lnTo>
                  <a:pt x="2174" y="2349"/>
                </a:lnTo>
                <a:cubicBezTo>
                  <a:pt x="2210" y="2342"/>
                  <a:pt x="2246" y="2332"/>
                  <a:pt x="2280" y="2320"/>
                </a:cubicBezTo>
                <a:lnTo>
                  <a:pt x="2429" y="2577"/>
                </a:lnTo>
                <a:lnTo>
                  <a:pt x="2674" y="2435"/>
                </a:lnTo>
                <a:lnTo>
                  <a:pt x="2526" y="2178"/>
                </a:lnTo>
                <a:cubicBezTo>
                  <a:pt x="2554" y="2154"/>
                  <a:pt x="2580" y="2128"/>
                  <a:pt x="2604" y="2100"/>
                </a:cubicBezTo>
                <a:lnTo>
                  <a:pt x="2861" y="2249"/>
                </a:lnTo>
                <a:lnTo>
                  <a:pt x="3003" y="2003"/>
                </a:lnTo>
                <a:lnTo>
                  <a:pt x="2746" y="1855"/>
                </a:lnTo>
                <a:cubicBezTo>
                  <a:pt x="2758" y="1820"/>
                  <a:pt x="2767" y="1784"/>
                  <a:pt x="2774" y="1748"/>
                </a:cubicBezTo>
                <a:lnTo>
                  <a:pt x="3071" y="1748"/>
                </a:lnTo>
                <a:lnTo>
                  <a:pt x="3071" y="1464"/>
                </a:lnTo>
                <a:lnTo>
                  <a:pt x="2774" y="1464"/>
                </a:lnTo>
                <a:cubicBezTo>
                  <a:pt x="2767" y="1428"/>
                  <a:pt x="2758" y="1392"/>
                  <a:pt x="2746" y="1358"/>
                </a:cubicBezTo>
                <a:close/>
                <a:moveTo>
                  <a:pt x="2504" y="1701"/>
                </a:moveTo>
                <a:lnTo>
                  <a:pt x="2349" y="1701"/>
                </a:lnTo>
                <a:cubicBezTo>
                  <a:pt x="2342" y="1723"/>
                  <a:pt x="2334" y="1744"/>
                  <a:pt x="2323" y="1763"/>
                </a:cubicBezTo>
                <a:lnTo>
                  <a:pt x="2433" y="1873"/>
                </a:lnTo>
                <a:lnTo>
                  <a:pt x="2299" y="2007"/>
                </a:lnTo>
                <a:lnTo>
                  <a:pt x="2189" y="1897"/>
                </a:lnTo>
                <a:cubicBezTo>
                  <a:pt x="2169" y="1908"/>
                  <a:pt x="2148" y="1916"/>
                  <a:pt x="2126" y="1923"/>
                </a:cubicBezTo>
                <a:lnTo>
                  <a:pt x="2126" y="2079"/>
                </a:lnTo>
                <a:lnTo>
                  <a:pt x="1937" y="2079"/>
                </a:lnTo>
                <a:lnTo>
                  <a:pt x="1937" y="1923"/>
                </a:lnTo>
                <a:cubicBezTo>
                  <a:pt x="1915" y="1916"/>
                  <a:pt x="1894" y="1908"/>
                  <a:pt x="1875" y="1897"/>
                </a:cubicBezTo>
                <a:lnTo>
                  <a:pt x="1765" y="2007"/>
                </a:lnTo>
                <a:lnTo>
                  <a:pt x="1631" y="1873"/>
                </a:lnTo>
                <a:lnTo>
                  <a:pt x="1741" y="1763"/>
                </a:lnTo>
                <a:cubicBezTo>
                  <a:pt x="1730" y="1744"/>
                  <a:pt x="1722" y="1723"/>
                  <a:pt x="1715" y="1701"/>
                </a:cubicBezTo>
                <a:lnTo>
                  <a:pt x="1559" y="1701"/>
                </a:lnTo>
                <a:lnTo>
                  <a:pt x="1559" y="1512"/>
                </a:lnTo>
                <a:lnTo>
                  <a:pt x="1715" y="1512"/>
                </a:lnTo>
                <a:cubicBezTo>
                  <a:pt x="1722" y="1490"/>
                  <a:pt x="1730" y="1469"/>
                  <a:pt x="1741" y="1449"/>
                </a:cubicBezTo>
                <a:lnTo>
                  <a:pt x="1631" y="1339"/>
                </a:lnTo>
                <a:lnTo>
                  <a:pt x="1765" y="1205"/>
                </a:lnTo>
                <a:lnTo>
                  <a:pt x="1875" y="1315"/>
                </a:lnTo>
                <a:cubicBezTo>
                  <a:pt x="1894" y="1304"/>
                  <a:pt x="1915" y="1296"/>
                  <a:pt x="1937" y="1289"/>
                </a:cubicBezTo>
                <a:lnTo>
                  <a:pt x="1937" y="1134"/>
                </a:lnTo>
                <a:lnTo>
                  <a:pt x="2126" y="1134"/>
                </a:lnTo>
                <a:lnTo>
                  <a:pt x="2126" y="1289"/>
                </a:lnTo>
                <a:cubicBezTo>
                  <a:pt x="2148" y="1296"/>
                  <a:pt x="2169" y="1304"/>
                  <a:pt x="2189" y="1315"/>
                </a:cubicBezTo>
                <a:lnTo>
                  <a:pt x="2299" y="1205"/>
                </a:lnTo>
                <a:lnTo>
                  <a:pt x="2433" y="1339"/>
                </a:lnTo>
                <a:lnTo>
                  <a:pt x="2323" y="1449"/>
                </a:lnTo>
                <a:cubicBezTo>
                  <a:pt x="2334" y="1469"/>
                  <a:pt x="2342" y="1490"/>
                  <a:pt x="2349" y="1512"/>
                </a:cubicBezTo>
                <a:lnTo>
                  <a:pt x="2504" y="1512"/>
                </a:lnTo>
                <a:lnTo>
                  <a:pt x="2504" y="1701"/>
                </a:lnTo>
                <a:close/>
                <a:moveTo>
                  <a:pt x="2185" y="1604"/>
                </a:moveTo>
                <a:cubicBezTo>
                  <a:pt x="2186" y="1689"/>
                  <a:pt x="2119" y="1759"/>
                  <a:pt x="2034" y="1760"/>
                </a:cubicBezTo>
                <a:cubicBezTo>
                  <a:pt x="1949" y="1761"/>
                  <a:pt x="1879" y="1693"/>
                  <a:pt x="1878" y="1608"/>
                </a:cubicBezTo>
                <a:cubicBezTo>
                  <a:pt x="1877" y="1523"/>
                  <a:pt x="1945" y="1454"/>
                  <a:pt x="2030" y="1453"/>
                </a:cubicBezTo>
                <a:cubicBezTo>
                  <a:pt x="2115" y="1451"/>
                  <a:pt x="2184" y="1519"/>
                  <a:pt x="2185" y="1604"/>
                </a:cubicBezTo>
              </a:path>
            </a:pathLst>
          </a:custGeom>
          <a:solidFill>
            <a:srgbClr val="AAB41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AAB414"/>
              </a:solidFill>
            </a:endParaRPr>
          </a:p>
        </p:txBody>
      </p:sp>
      <p:grpSp>
        <p:nvGrpSpPr>
          <p:cNvPr id="59" name="Group 8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gray">
          <a:xfrm>
            <a:off x="9383631" y="2420724"/>
            <a:ext cx="1208169" cy="1205506"/>
            <a:chOff x="407" y="1527"/>
            <a:chExt cx="454" cy="453"/>
          </a:xfrm>
          <a:solidFill>
            <a:srgbClr val="41AAC8"/>
          </a:solidFill>
        </p:grpSpPr>
        <p:sp>
          <p:nvSpPr>
            <p:cNvPr id="60" name="Freeform 9"/>
            <p:cNvSpPr>
              <a:spLocks noEditPoints="1"/>
            </p:cNvSpPr>
            <p:nvPr/>
          </p:nvSpPr>
          <p:spPr bwMode="gray">
            <a:xfrm>
              <a:off x="641" y="1579"/>
              <a:ext cx="220" cy="349"/>
            </a:xfrm>
            <a:custGeom>
              <a:avLst/>
              <a:gdLst>
                <a:gd name="T0" fmla="*/ 0 w 387"/>
                <a:gd name="T1" fmla="*/ 401 h 618"/>
                <a:gd name="T2" fmla="*/ 43 w 387"/>
                <a:gd name="T3" fmla="*/ 384 h 618"/>
                <a:gd name="T4" fmla="*/ 167 w 387"/>
                <a:gd name="T5" fmla="*/ 508 h 618"/>
                <a:gd name="T6" fmla="*/ 176 w 387"/>
                <a:gd name="T7" fmla="*/ 592 h 618"/>
                <a:gd name="T8" fmla="*/ 270 w 387"/>
                <a:gd name="T9" fmla="*/ 592 h 618"/>
                <a:gd name="T10" fmla="*/ 270 w 387"/>
                <a:gd name="T11" fmla="*/ 498 h 618"/>
                <a:gd name="T12" fmla="*/ 186 w 387"/>
                <a:gd name="T13" fmla="*/ 489 h 618"/>
                <a:gd name="T14" fmla="*/ 62 w 387"/>
                <a:gd name="T15" fmla="*/ 365 h 618"/>
                <a:gd name="T16" fmla="*/ 79 w 387"/>
                <a:gd name="T17" fmla="*/ 322 h 618"/>
                <a:gd name="T18" fmla="*/ 255 w 387"/>
                <a:gd name="T19" fmla="*/ 322 h 618"/>
                <a:gd name="T20" fmla="*/ 320 w 387"/>
                <a:gd name="T21" fmla="*/ 376 h 618"/>
                <a:gd name="T22" fmla="*/ 387 w 387"/>
                <a:gd name="T23" fmla="*/ 309 h 618"/>
                <a:gd name="T24" fmla="*/ 320 w 387"/>
                <a:gd name="T25" fmla="*/ 242 h 618"/>
                <a:gd name="T26" fmla="*/ 255 w 387"/>
                <a:gd name="T27" fmla="*/ 296 h 618"/>
                <a:gd name="T28" fmla="*/ 79 w 387"/>
                <a:gd name="T29" fmla="*/ 296 h 618"/>
                <a:gd name="T30" fmla="*/ 62 w 387"/>
                <a:gd name="T31" fmla="*/ 253 h 618"/>
                <a:gd name="T32" fmla="*/ 186 w 387"/>
                <a:gd name="T33" fmla="*/ 129 h 618"/>
                <a:gd name="T34" fmla="*/ 270 w 387"/>
                <a:gd name="T35" fmla="*/ 120 h 618"/>
                <a:gd name="T36" fmla="*/ 270 w 387"/>
                <a:gd name="T37" fmla="*/ 26 h 618"/>
                <a:gd name="T38" fmla="*/ 176 w 387"/>
                <a:gd name="T39" fmla="*/ 26 h 618"/>
                <a:gd name="T40" fmla="*/ 167 w 387"/>
                <a:gd name="T41" fmla="*/ 110 h 618"/>
                <a:gd name="T42" fmla="*/ 43 w 387"/>
                <a:gd name="T43" fmla="*/ 234 h 618"/>
                <a:gd name="T44" fmla="*/ 0 w 387"/>
                <a:gd name="T45" fmla="*/ 217 h 618"/>
                <a:gd name="T46" fmla="*/ 194 w 387"/>
                <a:gd name="T47" fmla="*/ 45 h 618"/>
                <a:gd name="T48" fmla="*/ 251 w 387"/>
                <a:gd name="T49" fmla="*/ 45 h 618"/>
                <a:gd name="T50" fmla="*/ 251 w 387"/>
                <a:gd name="T51" fmla="*/ 102 h 618"/>
                <a:gd name="T52" fmla="*/ 194 w 387"/>
                <a:gd name="T53" fmla="*/ 102 h 618"/>
                <a:gd name="T54" fmla="*/ 194 w 387"/>
                <a:gd name="T55" fmla="*/ 45 h 618"/>
                <a:gd name="T56" fmla="*/ 194 w 387"/>
                <a:gd name="T57" fmla="*/ 516 h 618"/>
                <a:gd name="T58" fmla="*/ 251 w 387"/>
                <a:gd name="T59" fmla="*/ 516 h 618"/>
                <a:gd name="T60" fmla="*/ 251 w 387"/>
                <a:gd name="T61" fmla="*/ 573 h 618"/>
                <a:gd name="T62" fmla="*/ 194 w 387"/>
                <a:gd name="T63" fmla="*/ 573 h 618"/>
                <a:gd name="T64" fmla="*/ 194 w 387"/>
                <a:gd name="T65" fmla="*/ 516 h 618"/>
                <a:gd name="T66" fmla="*/ 320 w 387"/>
                <a:gd name="T67" fmla="*/ 349 h 618"/>
                <a:gd name="T68" fmla="*/ 280 w 387"/>
                <a:gd name="T69" fmla="*/ 309 h 618"/>
                <a:gd name="T70" fmla="*/ 320 w 387"/>
                <a:gd name="T71" fmla="*/ 269 h 618"/>
                <a:gd name="T72" fmla="*/ 360 w 387"/>
                <a:gd name="T73" fmla="*/ 309 h 618"/>
                <a:gd name="T74" fmla="*/ 320 w 387"/>
                <a:gd name="T75" fmla="*/ 349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87" h="618">
                  <a:moveTo>
                    <a:pt x="0" y="401"/>
                  </a:moveTo>
                  <a:cubicBezTo>
                    <a:pt x="16" y="399"/>
                    <a:pt x="31" y="393"/>
                    <a:pt x="43" y="384"/>
                  </a:cubicBezTo>
                  <a:cubicBezTo>
                    <a:pt x="167" y="508"/>
                    <a:pt x="167" y="508"/>
                    <a:pt x="167" y="508"/>
                  </a:cubicBezTo>
                  <a:cubicBezTo>
                    <a:pt x="150" y="534"/>
                    <a:pt x="153" y="569"/>
                    <a:pt x="176" y="592"/>
                  </a:cubicBezTo>
                  <a:cubicBezTo>
                    <a:pt x="202" y="618"/>
                    <a:pt x="244" y="618"/>
                    <a:pt x="270" y="592"/>
                  </a:cubicBezTo>
                  <a:cubicBezTo>
                    <a:pt x="296" y="566"/>
                    <a:pt x="296" y="524"/>
                    <a:pt x="270" y="498"/>
                  </a:cubicBezTo>
                  <a:cubicBezTo>
                    <a:pt x="247" y="475"/>
                    <a:pt x="212" y="472"/>
                    <a:pt x="186" y="489"/>
                  </a:cubicBezTo>
                  <a:cubicBezTo>
                    <a:pt x="62" y="365"/>
                    <a:pt x="62" y="365"/>
                    <a:pt x="62" y="365"/>
                  </a:cubicBezTo>
                  <a:cubicBezTo>
                    <a:pt x="71" y="353"/>
                    <a:pt x="77" y="338"/>
                    <a:pt x="79" y="322"/>
                  </a:cubicBezTo>
                  <a:cubicBezTo>
                    <a:pt x="255" y="322"/>
                    <a:pt x="255" y="322"/>
                    <a:pt x="255" y="322"/>
                  </a:cubicBezTo>
                  <a:cubicBezTo>
                    <a:pt x="261" y="353"/>
                    <a:pt x="288" y="376"/>
                    <a:pt x="320" y="376"/>
                  </a:cubicBezTo>
                  <a:cubicBezTo>
                    <a:pt x="357" y="376"/>
                    <a:pt x="387" y="346"/>
                    <a:pt x="387" y="309"/>
                  </a:cubicBezTo>
                  <a:cubicBezTo>
                    <a:pt x="387" y="272"/>
                    <a:pt x="357" y="242"/>
                    <a:pt x="320" y="242"/>
                  </a:cubicBezTo>
                  <a:cubicBezTo>
                    <a:pt x="288" y="242"/>
                    <a:pt x="261" y="265"/>
                    <a:pt x="255" y="296"/>
                  </a:cubicBezTo>
                  <a:cubicBezTo>
                    <a:pt x="79" y="296"/>
                    <a:pt x="79" y="296"/>
                    <a:pt x="79" y="296"/>
                  </a:cubicBezTo>
                  <a:cubicBezTo>
                    <a:pt x="77" y="280"/>
                    <a:pt x="71" y="265"/>
                    <a:pt x="62" y="253"/>
                  </a:cubicBezTo>
                  <a:cubicBezTo>
                    <a:pt x="186" y="129"/>
                    <a:pt x="186" y="129"/>
                    <a:pt x="186" y="129"/>
                  </a:cubicBezTo>
                  <a:cubicBezTo>
                    <a:pt x="212" y="146"/>
                    <a:pt x="247" y="143"/>
                    <a:pt x="270" y="120"/>
                  </a:cubicBezTo>
                  <a:cubicBezTo>
                    <a:pt x="296" y="94"/>
                    <a:pt x="296" y="52"/>
                    <a:pt x="270" y="26"/>
                  </a:cubicBezTo>
                  <a:cubicBezTo>
                    <a:pt x="244" y="0"/>
                    <a:pt x="202" y="0"/>
                    <a:pt x="176" y="26"/>
                  </a:cubicBezTo>
                  <a:cubicBezTo>
                    <a:pt x="153" y="49"/>
                    <a:pt x="150" y="84"/>
                    <a:pt x="167" y="110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31" y="225"/>
                    <a:pt x="16" y="219"/>
                    <a:pt x="0" y="217"/>
                  </a:cubicBezTo>
                  <a:moveTo>
                    <a:pt x="194" y="45"/>
                  </a:moveTo>
                  <a:cubicBezTo>
                    <a:pt x="210" y="29"/>
                    <a:pt x="235" y="29"/>
                    <a:pt x="251" y="45"/>
                  </a:cubicBezTo>
                  <a:cubicBezTo>
                    <a:pt x="267" y="61"/>
                    <a:pt x="267" y="86"/>
                    <a:pt x="251" y="102"/>
                  </a:cubicBezTo>
                  <a:cubicBezTo>
                    <a:pt x="235" y="117"/>
                    <a:pt x="210" y="117"/>
                    <a:pt x="194" y="102"/>
                  </a:cubicBezTo>
                  <a:cubicBezTo>
                    <a:pt x="179" y="86"/>
                    <a:pt x="179" y="61"/>
                    <a:pt x="194" y="45"/>
                  </a:cubicBezTo>
                  <a:close/>
                  <a:moveTo>
                    <a:pt x="194" y="516"/>
                  </a:moveTo>
                  <a:cubicBezTo>
                    <a:pt x="210" y="501"/>
                    <a:pt x="235" y="501"/>
                    <a:pt x="251" y="516"/>
                  </a:cubicBezTo>
                  <a:cubicBezTo>
                    <a:pt x="267" y="532"/>
                    <a:pt x="267" y="557"/>
                    <a:pt x="251" y="573"/>
                  </a:cubicBezTo>
                  <a:cubicBezTo>
                    <a:pt x="235" y="589"/>
                    <a:pt x="210" y="589"/>
                    <a:pt x="194" y="573"/>
                  </a:cubicBezTo>
                  <a:cubicBezTo>
                    <a:pt x="179" y="557"/>
                    <a:pt x="179" y="532"/>
                    <a:pt x="194" y="516"/>
                  </a:cubicBezTo>
                  <a:close/>
                  <a:moveTo>
                    <a:pt x="320" y="349"/>
                  </a:moveTo>
                  <a:cubicBezTo>
                    <a:pt x="298" y="349"/>
                    <a:pt x="280" y="331"/>
                    <a:pt x="280" y="309"/>
                  </a:cubicBezTo>
                  <a:cubicBezTo>
                    <a:pt x="280" y="287"/>
                    <a:pt x="298" y="269"/>
                    <a:pt x="320" y="269"/>
                  </a:cubicBezTo>
                  <a:cubicBezTo>
                    <a:pt x="342" y="269"/>
                    <a:pt x="360" y="287"/>
                    <a:pt x="360" y="309"/>
                  </a:cubicBezTo>
                  <a:cubicBezTo>
                    <a:pt x="360" y="331"/>
                    <a:pt x="342" y="349"/>
                    <a:pt x="320" y="3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</a:pPr>
              <a:endParaRPr lang="en-US" sz="1200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1" name="Freeform 10"/>
            <p:cNvSpPr>
              <a:spLocks noEditPoints="1"/>
            </p:cNvSpPr>
            <p:nvPr/>
          </p:nvSpPr>
          <p:spPr bwMode="gray">
            <a:xfrm>
              <a:off x="407" y="1527"/>
              <a:ext cx="227" cy="453"/>
            </a:xfrm>
            <a:custGeom>
              <a:avLst/>
              <a:gdLst>
                <a:gd name="T0" fmla="*/ 400 w 400"/>
                <a:gd name="T1" fmla="*/ 24 h 800"/>
                <a:gd name="T2" fmla="*/ 400 w 400"/>
                <a:gd name="T3" fmla="*/ 776 h 800"/>
                <a:gd name="T4" fmla="*/ 376 w 400"/>
                <a:gd name="T5" fmla="*/ 800 h 800"/>
                <a:gd name="T6" fmla="*/ 24 w 400"/>
                <a:gd name="T7" fmla="*/ 800 h 800"/>
                <a:gd name="T8" fmla="*/ 0 w 400"/>
                <a:gd name="T9" fmla="*/ 776 h 800"/>
                <a:gd name="T10" fmla="*/ 0 w 400"/>
                <a:gd name="T11" fmla="*/ 24 h 800"/>
                <a:gd name="T12" fmla="*/ 24 w 400"/>
                <a:gd name="T13" fmla="*/ 0 h 800"/>
                <a:gd name="T14" fmla="*/ 376 w 400"/>
                <a:gd name="T15" fmla="*/ 0 h 800"/>
                <a:gd name="T16" fmla="*/ 400 w 400"/>
                <a:gd name="T17" fmla="*/ 24 h 800"/>
                <a:gd name="T18" fmla="*/ 360 w 400"/>
                <a:gd name="T19" fmla="*/ 120 h 800"/>
                <a:gd name="T20" fmla="*/ 40 w 400"/>
                <a:gd name="T21" fmla="*/ 120 h 800"/>
                <a:gd name="T22" fmla="*/ 40 w 400"/>
                <a:gd name="T23" fmla="*/ 680 h 800"/>
                <a:gd name="T24" fmla="*/ 360 w 400"/>
                <a:gd name="T25" fmla="*/ 680 h 800"/>
                <a:gd name="T26" fmla="*/ 360 w 400"/>
                <a:gd name="T27" fmla="*/ 120 h 800"/>
                <a:gd name="T28" fmla="*/ 200 w 400"/>
                <a:gd name="T29" fmla="*/ 700 h 800"/>
                <a:gd name="T30" fmla="*/ 160 w 400"/>
                <a:gd name="T31" fmla="*/ 740 h 800"/>
                <a:gd name="T32" fmla="*/ 200 w 400"/>
                <a:gd name="T33" fmla="*/ 780 h 800"/>
                <a:gd name="T34" fmla="*/ 240 w 400"/>
                <a:gd name="T35" fmla="*/ 740 h 800"/>
                <a:gd name="T36" fmla="*/ 200 w 400"/>
                <a:gd name="T37" fmla="*/ 700 h 800"/>
                <a:gd name="T38" fmla="*/ 240 w 400"/>
                <a:gd name="T39" fmla="*/ 60 h 800"/>
                <a:gd name="T40" fmla="*/ 232 w 400"/>
                <a:gd name="T41" fmla="*/ 52 h 800"/>
                <a:gd name="T42" fmla="*/ 168 w 400"/>
                <a:gd name="T43" fmla="*/ 52 h 800"/>
                <a:gd name="T44" fmla="*/ 160 w 400"/>
                <a:gd name="T45" fmla="*/ 60 h 800"/>
                <a:gd name="T46" fmla="*/ 160 w 400"/>
                <a:gd name="T47" fmla="*/ 60 h 800"/>
                <a:gd name="T48" fmla="*/ 168 w 400"/>
                <a:gd name="T49" fmla="*/ 68 h 800"/>
                <a:gd name="T50" fmla="*/ 232 w 400"/>
                <a:gd name="T51" fmla="*/ 68 h 800"/>
                <a:gd name="T52" fmla="*/ 240 w 400"/>
                <a:gd name="T53" fmla="*/ 60 h 800"/>
                <a:gd name="T54" fmla="*/ 200 w 400"/>
                <a:gd name="T55" fmla="*/ 708 h 800"/>
                <a:gd name="T56" fmla="*/ 168 w 400"/>
                <a:gd name="T57" fmla="*/ 740 h 800"/>
                <a:gd name="T58" fmla="*/ 200 w 400"/>
                <a:gd name="T59" fmla="*/ 772 h 800"/>
                <a:gd name="T60" fmla="*/ 232 w 400"/>
                <a:gd name="T61" fmla="*/ 740 h 800"/>
                <a:gd name="T62" fmla="*/ 200 w 400"/>
                <a:gd name="T63" fmla="*/ 708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0" h="800">
                  <a:moveTo>
                    <a:pt x="400" y="24"/>
                  </a:moveTo>
                  <a:cubicBezTo>
                    <a:pt x="400" y="776"/>
                    <a:pt x="400" y="776"/>
                    <a:pt x="400" y="776"/>
                  </a:cubicBezTo>
                  <a:cubicBezTo>
                    <a:pt x="400" y="789"/>
                    <a:pt x="389" y="800"/>
                    <a:pt x="376" y="800"/>
                  </a:cubicBezTo>
                  <a:cubicBezTo>
                    <a:pt x="24" y="800"/>
                    <a:pt x="24" y="800"/>
                    <a:pt x="24" y="800"/>
                  </a:cubicBezTo>
                  <a:cubicBezTo>
                    <a:pt x="11" y="800"/>
                    <a:pt x="0" y="789"/>
                    <a:pt x="0" y="77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6" y="0"/>
                    <a:pt x="376" y="0"/>
                    <a:pt x="376" y="0"/>
                  </a:cubicBezTo>
                  <a:cubicBezTo>
                    <a:pt x="389" y="0"/>
                    <a:pt x="400" y="11"/>
                    <a:pt x="400" y="24"/>
                  </a:cubicBezTo>
                  <a:close/>
                  <a:moveTo>
                    <a:pt x="360" y="120"/>
                  </a:moveTo>
                  <a:cubicBezTo>
                    <a:pt x="40" y="120"/>
                    <a:pt x="40" y="120"/>
                    <a:pt x="40" y="120"/>
                  </a:cubicBezTo>
                  <a:cubicBezTo>
                    <a:pt x="40" y="680"/>
                    <a:pt x="40" y="680"/>
                    <a:pt x="40" y="680"/>
                  </a:cubicBezTo>
                  <a:cubicBezTo>
                    <a:pt x="360" y="680"/>
                    <a:pt x="360" y="680"/>
                    <a:pt x="360" y="680"/>
                  </a:cubicBezTo>
                  <a:lnTo>
                    <a:pt x="360" y="120"/>
                  </a:lnTo>
                  <a:close/>
                  <a:moveTo>
                    <a:pt x="200" y="700"/>
                  </a:moveTo>
                  <a:cubicBezTo>
                    <a:pt x="178" y="700"/>
                    <a:pt x="160" y="718"/>
                    <a:pt x="160" y="740"/>
                  </a:cubicBezTo>
                  <a:cubicBezTo>
                    <a:pt x="160" y="762"/>
                    <a:pt x="178" y="780"/>
                    <a:pt x="200" y="780"/>
                  </a:cubicBezTo>
                  <a:cubicBezTo>
                    <a:pt x="222" y="780"/>
                    <a:pt x="240" y="762"/>
                    <a:pt x="240" y="740"/>
                  </a:cubicBezTo>
                  <a:cubicBezTo>
                    <a:pt x="240" y="718"/>
                    <a:pt x="222" y="700"/>
                    <a:pt x="200" y="700"/>
                  </a:cubicBezTo>
                  <a:close/>
                  <a:moveTo>
                    <a:pt x="240" y="60"/>
                  </a:moveTo>
                  <a:cubicBezTo>
                    <a:pt x="240" y="56"/>
                    <a:pt x="236" y="52"/>
                    <a:pt x="232" y="52"/>
                  </a:cubicBezTo>
                  <a:cubicBezTo>
                    <a:pt x="168" y="52"/>
                    <a:pt x="168" y="52"/>
                    <a:pt x="168" y="52"/>
                  </a:cubicBezTo>
                  <a:cubicBezTo>
                    <a:pt x="164" y="52"/>
                    <a:pt x="160" y="56"/>
                    <a:pt x="160" y="60"/>
                  </a:cubicBezTo>
                  <a:cubicBezTo>
                    <a:pt x="160" y="60"/>
                    <a:pt x="160" y="60"/>
                    <a:pt x="160" y="60"/>
                  </a:cubicBezTo>
                  <a:cubicBezTo>
                    <a:pt x="160" y="64"/>
                    <a:pt x="164" y="68"/>
                    <a:pt x="168" y="68"/>
                  </a:cubicBezTo>
                  <a:cubicBezTo>
                    <a:pt x="232" y="68"/>
                    <a:pt x="232" y="68"/>
                    <a:pt x="232" y="68"/>
                  </a:cubicBezTo>
                  <a:cubicBezTo>
                    <a:pt x="236" y="68"/>
                    <a:pt x="240" y="64"/>
                    <a:pt x="240" y="60"/>
                  </a:cubicBezTo>
                  <a:close/>
                  <a:moveTo>
                    <a:pt x="200" y="708"/>
                  </a:moveTo>
                  <a:cubicBezTo>
                    <a:pt x="182" y="708"/>
                    <a:pt x="168" y="722"/>
                    <a:pt x="168" y="740"/>
                  </a:cubicBezTo>
                  <a:cubicBezTo>
                    <a:pt x="168" y="758"/>
                    <a:pt x="182" y="772"/>
                    <a:pt x="200" y="772"/>
                  </a:cubicBezTo>
                  <a:cubicBezTo>
                    <a:pt x="218" y="772"/>
                    <a:pt x="232" y="758"/>
                    <a:pt x="232" y="740"/>
                  </a:cubicBezTo>
                  <a:cubicBezTo>
                    <a:pt x="232" y="722"/>
                    <a:pt x="218" y="708"/>
                    <a:pt x="200" y="7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</a:pPr>
              <a:endParaRPr lang="en-US" sz="1200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5" name="Rechteck 4"/>
          <p:cNvSpPr/>
          <p:nvPr/>
        </p:nvSpPr>
        <p:spPr>
          <a:xfrm>
            <a:off x="656885" y="3702430"/>
            <a:ext cx="314182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r>
              <a:rPr lang="en-US" sz="3200" b="1" dirty="0">
                <a:solidFill>
                  <a:schemeClr val="accent3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Guaranteed</a:t>
            </a:r>
          </a:p>
          <a:p>
            <a:pPr algn="ctr">
              <a:spcBef>
                <a:spcPct val="0"/>
              </a:spcBef>
              <a:buFont typeface="Wingdings" charset="0"/>
              <a:buNone/>
            </a:pPr>
            <a:r>
              <a:rPr lang="en-US" sz="3200" b="1" dirty="0">
                <a:solidFill>
                  <a:schemeClr val="accent3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vailability</a:t>
            </a:r>
          </a:p>
        </p:txBody>
      </p:sp>
      <p:sp>
        <p:nvSpPr>
          <p:cNvPr id="7" name="Rechteck 6"/>
          <p:cNvSpPr/>
          <p:nvPr/>
        </p:nvSpPr>
        <p:spPr>
          <a:xfrm>
            <a:off x="4131878" y="3702430"/>
            <a:ext cx="356558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AAB41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Optimized Capacity Profile</a:t>
            </a:r>
            <a:endParaRPr lang="en-US" sz="3200" dirty="0">
              <a:solidFill>
                <a:srgbClr val="AAB414"/>
              </a:solidFill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7953373" y="3702430"/>
            <a:ext cx="370522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41AAC8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igital Passenger Experience </a:t>
            </a:r>
          </a:p>
        </p:txBody>
      </p:sp>
    </p:spTree>
    <p:extLst>
      <p:ext uri="{BB962C8B-B14F-4D97-AF65-F5344CB8AC3E}">
        <p14:creationId xmlns:p14="http://schemas.microsoft.com/office/powerpoint/2010/main" val="247706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240048" y="6371839"/>
            <a:ext cx="2340000" cy="324000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8" name="Titel 1"/>
          <p:cNvSpPr>
            <a:spLocks noGrp="1"/>
          </p:cNvSpPr>
          <p:nvPr>
            <p:ph type="ctrTitle"/>
          </p:nvPr>
        </p:nvSpPr>
        <p:spPr>
          <a:xfrm>
            <a:off x="627061" y="4939508"/>
            <a:ext cx="9243079" cy="862986"/>
          </a:xfrm>
        </p:spPr>
        <p:txBody>
          <a:bodyPr/>
          <a:lstStyle/>
          <a:p>
            <a:r>
              <a:rPr lang="en-US" sz="3600" dirty="0"/>
              <a:t>Thank you.</a:t>
            </a:r>
            <a:endParaRPr lang="en-US" sz="2200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627062" y="5907600"/>
            <a:ext cx="9243077" cy="324000"/>
          </a:xfrm>
        </p:spPr>
        <p:txBody>
          <a:bodyPr/>
          <a:lstStyle/>
          <a:p>
            <a:r>
              <a:rPr lang="de-DE" dirty="0"/>
              <a:t>siemens.com</a:t>
            </a:r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2340000" cy="324000"/>
          </a:xfrm>
        </p:spPr>
        <p:txBody>
          <a:bodyPr/>
          <a:lstStyle/>
          <a:p>
            <a:r>
              <a:rPr lang="en-US" noProof="0" dirty="0"/>
              <a:t>Unrestricted © Siemens AG 2016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97085975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8" name="Objekt 49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679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3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megatrends lead to increased traffic volumes</a:t>
            </a:r>
          </a:p>
        </p:txBody>
      </p:sp>
      <p:sp>
        <p:nvSpPr>
          <p:cNvPr id="15" name="Rechteck 14"/>
          <p:cNvSpPr>
            <a:spLocks/>
          </p:cNvSpPr>
          <p:nvPr/>
        </p:nvSpPr>
        <p:spPr bwMode="gray">
          <a:xfrm>
            <a:off x="494981" y="1601578"/>
            <a:ext cx="5400000" cy="2319588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/>
          <a:extLst/>
        </p:spPr>
        <p:txBody>
          <a:bodyPr wrap="square" lIns="72000" tIns="72000" rIns="72000" bIns="72000" numCol="1" spcCol="72000" rtlCol="0" anchor="b">
            <a:noAutofit/>
          </a:bodyPr>
          <a:lstStyle/>
          <a:p>
            <a:pPr algn="ctr">
              <a:spcBef>
                <a:spcPts val="0"/>
              </a:spcBef>
            </a:pPr>
            <a:endParaRPr lang="en-US" sz="1000" dirty="0" err="1">
              <a:solidFill>
                <a:schemeClr val="bg1"/>
              </a:solidFill>
              <a:ea typeface="Arial Unicode MS" panose="020B0604020202020204" pitchFamily="34" charset="-128"/>
            </a:endParaRPr>
          </a:p>
        </p:txBody>
      </p:sp>
      <p:sp>
        <p:nvSpPr>
          <p:cNvPr id="16" name="Joined 5"/>
          <p:cNvSpPr txBox="1">
            <a:spLocks noChangeArrowheads="1"/>
          </p:cNvSpPr>
          <p:nvPr/>
        </p:nvSpPr>
        <p:spPr bwMode="gray">
          <a:xfrm>
            <a:off x="494982" y="4073566"/>
            <a:ext cx="5040001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numCol="1" anchor="t" anchorCtr="0">
            <a:spAutoFit/>
          </a:bodyPr>
          <a:lstStyle/>
          <a:p>
            <a:pPr marL="0" lvl="1">
              <a:spcBef>
                <a:spcPct val="0"/>
              </a:spcBef>
              <a:spcAft>
                <a:spcPts val="300"/>
              </a:spcAft>
              <a:buClr>
                <a:srgbClr val="879BAA"/>
              </a:buClr>
              <a:buSzPct val="100000"/>
            </a:pPr>
            <a:r>
              <a:rPr lang="en-US" sz="2800" dirty="0">
                <a:solidFill>
                  <a:srgbClr val="4BB9B9"/>
                </a:solidFill>
                <a:latin typeface="Arial" charset="0"/>
                <a:ea typeface="Arial Unicode MS"/>
              </a:rPr>
              <a:t>By 2050: </a:t>
            </a:r>
            <a:r>
              <a:rPr lang="en-US" sz="2800" dirty="0">
                <a:solidFill>
                  <a:schemeClr val="bg1"/>
                </a:solidFill>
                <a:latin typeface="Arial" charset="0"/>
                <a:ea typeface="Arial Unicode MS"/>
              </a:rPr>
              <a:t>Additional </a:t>
            </a:r>
            <a:r>
              <a:rPr lang="en-US" sz="2800" dirty="0">
                <a:solidFill>
                  <a:srgbClr val="4BB9B9"/>
                </a:solidFill>
                <a:latin typeface="Arial" charset="0"/>
                <a:ea typeface="Arial Unicode MS"/>
              </a:rPr>
              <a:t>2.5 Billion </a:t>
            </a:r>
            <a:r>
              <a:rPr lang="en-US" sz="2800" dirty="0">
                <a:solidFill>
                  <a:schemeClr val="bg1"/>
                </a:solidFill>
                <a:latin typeface="Arial" charset="0"/>
                <a:ea typeface="Arial Unicode MS"/>
              </a:rPr>
              <a:t>people will live in cities worldwide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494981" y="1761437"/>
            <a:ext cx="4079371" cy="553998"/>
          </a:xfrm>
          <a:prstGeom prst="rect">
            <a:avLst/>
          </a:prstGeom>
        </p:spPr>
        <p:txBody>
          <a:bodyPr wrap="square" lIns="144000" tIns="0" rIns="0" bIns="0">
            <a:spAutoFit/>
          </a:bodyPr>
          <a:lstStyle/>
          <a:p>
            <a:pPr marL="180975" lvl="0" indent="-180975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Pct val="100000"/>
            </a:pPr>
            <a:r>
              <a:rPr lang="en-US" sz="3600" dirty="0">
                <a:solidFill>
                  <a:schemeClr val="bg1"/>
                </a:solidFill>
                <a:latin typeface="Arial" charset="0"/>
                <a:ea typeface="Arial Unicode MS"/>
              </a:rPr>
              <a:t>Cities will grow</a:t>
            </a:r>
            <a:endParaRPr lang="en-US" dirty="0">
              <a:solidFill>
                <a:schemeClr val="bg1"/>
              </a:solidFill>
              <a:latin typeface="Arial" charset="0"/>
              <a:ea typeface="Arial Unicode MS"/>
            </a:endParaRPr>
          </a:p>
        </p:txBody>
      </p:sp>
      <p:grpSp>
        <p:nvGrpSpPr>
          <p:cNvPr id="41" name="Gruppieren 40"/>
          <p:cNvGrpSpPr/>
          <p:nvPr/>
        </p:nvGrpSpPr>
        <p:grpSpPr>
          <a:xfrm>
            <a:off x="706620" y="2670460"/>
            <a:ext cx="4502185" cy="983493"/>
            <a:chOff x="627063" y="3865193"/>
            <a:chExt cx="11106149" cy="2046418"/>
          </a:xfrm>
        </p:grpSpPr>
        <p:sp>
          <p:nvSpPr>
            <p:cNvPr id="42" name="Freeform 68"/>
            <p:cNvSpPr>
              <a:spLocks/>
            </p:cNvSpPr>
            <p:nvPr/>
          </p:nvSpPr>
          <p:spPr bwMode="gray">
            <a:xfrm>
              <a:off x="4993642" y="5374110"/>
              <a:ext cx="139313" cy="472669"/>
            </a:xfrm>
            <a:custGeom>
              <a:avLst/>
              <a:gdLst>
                <a:gd name="T0" fmla="*/ 77 w 80"/>
                <a:gd name="T1" fmla="*/ 147 h 278"/>
                <a:gd name="T2" fmla="*/ 68 w 80"/>
                <a:gd name="T3" fmla="*/ 128 h 278"/>
                <a:gd name="T4" fmla="*/ 76 w 80"/>
                <a:gd name="T5" fmla="*/ 102 h 278"/>
                <a:gd name="T6" fmla="*/ 65 w 80"/>
                <a:gd name="T7" fmla="*/ 80 h 278"/>
                <a:gd name="T8" fmla="*/ 66 w 80"/>
                <a:gd name="T9" fmla="*/ 51 h 278"/>
                <a:gd name="T10" fmla="*/ 55 w 80"/>
                <a:gd name="T11" fmla="*/ 37 h 278"/>
                <a:gd name="T12" fmla="*/ 42 w 80"/>
                <a:gd name="T13" fmla="*/ 1 h 278"/>
                <a:gd name="T14" fmla="*/ 30 w 80"/>
                <a:gd name="T15" fmla="*/ 26 h 278"/>
                <a:gd name="T16" fmla="*/ 15 w 80"/>
                <a:gd name="T17" fmla="*/ 38 h 278"/>
                <a:gd name="T18" fmla="*/ 21 w 80"/>
                <a:gd name="T19" fmla="*/ 70 h 278"/>
                <a:gd name="T20" fmla="*/ 10 w 80"/>
                <a:gd name="T21" fmla="*/ 81 h 278"/>
                <a:gd name="T22" fmla="*/ 16 w 80"/>
                <a:gd name="T23" fmla="*/ 107 h 278"/>
                <a:gd name="T24" fmla="*/ 5 w 80"/>
                <a:gd name="T25" fmla="*/ 136 h 278"/>
                <a:gd name="T26" fmla="*/ 13 w 80"/>
                <a:gd name="T27" fmla="*/ 168 h 278"/>
                <a:gd name="T28" fmla="*/ 13 w 80"/>
                <a:gd name="T29" fmla="*/ 197 h 278"/>
                <a:gd name="T30" fmla="*/ 32 w 80"/>
                <a:gd name="T31" fmla="*/ 223 h 278"/>
                <a:gd name="T32" fmla="*/ 26 w 80"/>
                <a:gd name="T33" fmla="*/ 277 h 278"/>
                <a:gd name="T34" fmla="*/ 42 w 80"/>
                <a:gd name="T35" fmla="*/ 278 h 278"/>
                <a:gd name="T36" fmla="*/ 41 w 80"/>
                <a:gd name="T37" fmla="*/ 253 h 278"/>
                <a:gd name="T38" fmla="*/ 46 w 80"/>
                <a:gd name="T39" fmla="*/ 224 h 278"/>
                <a:gd name="T40" fmla="*/ 62 w 80"/>
                <a:gd name="T41" fmla="*/ 206 h 278"/>
                <a:gd name="T42" fmla="*/ 63 w 80"/>
                <a:gd name="T43" fmla="*/ 180 h 278"/>
                <a:gd name="T44" fmla="*/ 77 w 80"/>
                <a:gd name="T45" fmla="*/ 147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78">
                  <a:moveTo>
                    <a:pt x="77" y="147"/>
                  </a:moveTo>
                  <a:cubicBezTo>
                    <a:pt x="80" y="125"/>
                    <a:pt x="68" y="128"/>
                    <a:pt x="68" y="128"/>
                  </a:cubicBezTo>
                  <a:cubicBezTo>
                    <a:pt x="68" y="128"/>
                    <a:pt x="74" y="123"/>
                    <a:pt x="76" y="102"/>
                  </a:cubicBezTo>
                  <a:cubicBezTo>
                    <a:pt x="78" y="83"/>
                    <a:pt x="65" y="80"/>
                    <a:pt x="65" y="80"/>
                  </a:cubicBezTo>
                  <a:cubicBezTo>
                    <a:pt x="65" y="80"/>
                    <a:pt x="67" y="66"/>
                    <a:pt x="66" y="51"/>
                  </a:cubicBezTo>
                  <a:cubicBezTo>
                    <a:pt x="64" y="35"/>
                    <a:pt x="55" y="37"/>
                    <a:pt x="55" y="37"/>
                  </a:cubicBezTo>
                  <a:cubicBezTo>
                    <a:pt x="55" y="37"/>
                    <a:pt x="56" y="0"/>
                    <a:pt x="42" y="1"/>
                  </a:cubicBezTo>
                  <a:cubicBezTo>
                    <a:pt x="28" y="2"/>
                    <a:pt x="30" y="26"/>
                    <a:pt x="30" y="26"/>
                  </a:cubicBezTo>
                  <a:cubicBezTo>
                    <a:pt x="25" y="20"/>
                    <a:pt x="19" y="26"/>
                    <a:pt x="15" y="38"/>
                  </a:cubicBezTo>
                  <a:cubicBezTo>
                    <a:pt x="10" y="60"/>
                    <a:pt x="21" y="70"/>
                    <a:pt x="21" y="70"/>
                  </a:cubicBezTo>
                  <a:cubicBezTo>
                    <a:pt x="21" y="70"/>
                    <a:pt x="12" y="66"/>
                    <a:pt x="10" y="81"/>
                  </a:cubicBezTo>
                  <a:cubicBezTo>
                    <a:pt x="8" y="98"/>
                    <a:pt x="16" y="107"/>
                    <a:pt x="16" y="107"/>
                  </a:cubicBezTo>
                  <a:cubicBezTo>
                    <a:pt x="16" y="107"/>
                    <a:pt x="3" y="113"/>
                    <a:pt x="5" y="136"/>
                  </a:cubicBezTo>
                  <a:cubicBezTo>
                    <a:pt x="6" y="154"/>
                    <a:pt x="13" y="168"/>
                    <a:pt x="13" y="168"/>
                  </a:cubicBezTo>
                  <a:cubicBezTo>
                    <a:pt x="13" y="168"/>
                    <a:pt x="0" y="178"/>
                    <a:pt x="13" y="197"/>
                  </a:cubicBezTo>
                  <a:cubicBezTo>
                    <a:pt x="19" y="206"/>
                    <a:pt x="27" y="212"/>
                    <a:pt x="32" y="223"/>
                  </a:cubicBezTo>
                  <a:cubicBezTo>
                    <a:pt x="23" y="251"/>
                    <a:pt x="26" y="277"/>
                    <a:pt x="26" y="277"/>
                  </a:cubicBezTo>
                  <a:cubicBezTo>
                    <a:pt x="42" y="278"/>
                    <a:pt x="42" y="278"/>
                    <a:pt x="42" y="278"/>
                  </a:cubicBezTo>
                  <a:cubicBezTo>
                    <a:pt x="42" y="278"/>
                    <a:pt x="41" y="268"/>
                    <a:pt x="41" y="253"/>
                  </a:cubicBezTo>
                  <a:cubicBezTo>
                    <a:pt x="41" y="242"/>
                    <a:pt x="42" y="233"/>
                    <a:pt x="46" y="224"/>
                  </a:cubicBezTo>
                  <a:cubicBezTo>
                    <a:pt x="51" y="219"/>
                    <a:pt x="58" y="210"/>
                    <a:pt x="62" y="206"/>
                  </a:cubicBezTo>
                  <a:cubicBezTo>
                    <a:pt x="72" y="194"/>
                    <a:pt x="71" y="185"/>
                    <a:pt x="63" y="180"/>
                  </a:cubicBezTo>
                  <a:cubicBezTo>
                    <a:pt x="69" y="174"/>
                    <a:pt x="73" y="169"/>
                    <a:pt x="77" y="147"/>
                  </a:cubicBezTo>
                  <a:close/>
                </a:path>
              </a:pathLst>
            </a:custGeom>
            <a:solidFill>
              <a:srgbClr val="CDD9E1"/>
            </a:solidFill>
            <a:ln w="19050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43" name="Freeform 76"/>
            <p:cNvSpPr>
              <a:spLocks/>
            </p:cNvSpPr>
            <p:nvPr/>
          </p:nvSpPr>
          <p:spPr bwMode="gray">
            <a:xfrm>
              <a:off x="9658643" y="5358712"/>
              <a:ext cx="267650" cy="494604"/>
            </a:xfrm>
            <a:custGeom>
              <a:avLst/>
              <a:gdLst>
                <a:gd name="T0" fmla="*/ 195 w 214"/>
                <a:gd name="T1" fmla="*/ 248 h 398"/>
                <a:gd name="T2" fmla="*/ 213 w 214"/>
                <a:gd name="T3" fmla="*/ 196 h 398"/>
                <a:gd name="T4" fmla="*/ 153 w 214"/>
                <a:gd name="T5" fmla="*/ 129 h 398"/>
                <a:gd name="T6" fmla="*/ 148 w 214"/>
                <a:gd name="T7" fmla="*/ 130 h 398"/>
                <a:gd name="T8" fmla="*/ 143 w 214"/>
                <a:gd name="T9" fmla="*/ 113 h 398"/>
                <a:gd name="T10" fmla="*/ 162 w 214"/>
                <a:gd name="T11" fmla="*/ 79 h 398"/>
                <a:gd name="T12" fmla="*/ 120 w 214"/>
                <a:gd name="T13" fmla="*/ 37 h 398"/>
                <a:gd name="T14" fmla="*/ 121 w 214"/>
                <a:gd name="T15" fmla="*/ 30 h 398"/>
                <a:gd name="T16" fmla="*/ 84 w 214"/>
                <a:gd name="T17" fmla="*/ 1 h 398"/>
                <a:gd name="T18" fmla="*/ 48 w 214"/>
                <a:gd name="T19" fmla="*/ 31 h 398"/>
                <a:gd name="T20" fmla="*/ 54 w 214"/>
                <a:gd name="T21" fmla="*/ 47 h 398"/>
                <a:gd name="T22" fmla="*/ 35 w 214"/>
                <a:gd name="T23" fmla="*/ 81 h 398"/>
                <a:gd name="T24" fmla="*/ 35 w 214"/>
                <a:gd name="T25" fmla="*/ 86 h 398"/>
                <a:gd name="T26" fmla="*/ 0 w 214"/>
                <a:gd name="T27" fmla="*/ 137 h 398"/>
                <a:gd name="T28" fmla="*/ 34 w 214"/>
                <a:gd name="T29" fmla="*/ 186 h 398"/>
                <a:gd name="T30" fmla="*/ 29 w 214"/>
                <a:gd name="T31" fmla="*/ 210 h 398"/>
                <a:gd name="T32" fmla="*/ 48 w 214"/>
                <a:gd name="T33" fmla="*/ 249 h 398"/>
                <a:gd name="T34" fmla="*/ 28 w 214"/>
                <a:gd name="T35" fmla="*/ 274 h 398"/>
                <a:gd name="T36" fmla="*/ 102 w 214"/>
                <a:gd name="T37" fmla="*/ 311 h 398"/>
                <a:gd name="T38" fmla="*/ 104 w 214"/>
                <a:gd name="T39" fmla="*/ 318 h 398"/>
                <a:gd name="T40" fmla="*/ 104 w 214"/>
                <a:gd name="T41" fmla="*/ 395 h 398"/>
                <a:gd name="T42" fmla="*/ 128 w 214"/>
                <a:gd name="T43" fmla="*/ 395 h 398"/>
                <a:gd name="T44" fmla="*/ 124 w 214"/>
                <a:gd name="T45" fmla="*/ 354 h 398"/>
                <a:gd name="T46" fmla="*/ 129 w 214"/>
                <a:gd name="T47" fmla="*/ 311 h 398"/>
                <a:gd name="T48" fmla="*/ 213 w 214"/>
                <a:gd name="T49" fmla="*/ 270 h 398"/>
                <a:gd name="T50" fmla="*/ 195 w 214"/>
                <a:gd name="T51" fmla="*/ 24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4" h="398">
                  <a:moveTo>
                    <a:pt x="195" y="248"/>
                  </a:moveTo>
                  <a:cubicBezTo>
                    <a:pt x="206" y="235"/>
                    <a:pt x="214" y="217"/>
                    <a:pt x="213" y="196"/>
                  </a:cubicBezTo>
                  <a:cubicBezTo>
                    <a:pt x="213" y="159"/>
                    <a:pt x="186" y="129"/>
                    <a:pt x="153" y="129"/>
                  </a:cubicBezTo>
                  <a:cubicBezTo>
                    <a:pt x="151" y="129"/>
                    <a:pt x="150" y="129"/>
                    <a:pt x="148" y="130"/>
                  </a:cubicBezTo>
                  <a:cubicBezTo>
                    <a:pt x="147" y="124"/>
                    <a:pt x="145" y="118"/>
                    <a:pt x="143" y="113"/>
                  </a:cubicBezTo>
                  <a:cubicBezTo>
                    <a:pt x="155" y="104"/>
                    <a:pt x="162" y="92"/>
                    <a:pt x="162" y="79"/>
                  </a:cubicBezTo>
                  <a:cubicBezTo>
                    <a:pt x="161" y="59"/>
                    <a:pt x="144" y="43"/>
                    <a:pt x="120" y="37"/>
                  </a:cubicBezTo>
                  <a:cubicBezTo>
                    <a:pt x="121" y="34"/>
                    <a:pt x="122" y="32"/>
                    <a:pt x="121" y="30"/>
                  </a:cubicBezTo>
                  <a:cubicBezTo>
                    <a:pt x="121" y="13"/>
                    <a:pt x="104" y="0"/>
                    <a:pt x="84" y="1"/>
                  </a:cubicBezTo>
                  <a:cubicBezTo>
                    <a:pt x="64" y="1"/>
                    <a:pt x="47" y="15"/>
                    <a:pt x="48" y="31"/>
                  </a:cubicBezTo>
                  <a:cubicBezTo>
                    <a:pt x="48" y="37"/>
                    <a:pt x="50" y="43"/>
                    <a:pt x="54" y="47"/>
                  </a:cubicBezTo>
                  <a:cubicBezTo>
                    <a:pt x="42" y="56"/>
                    <a:pt x="34" y="68"/>
                    <a:pt x="35" y="81"/>
                  </a:cubicBezTo>
                  <a:cubicBezTo>
                    <a:pt x="35" y="83"/>
                    <a:pt x="35" y="84"/>
                    <a:pt x="35" y="86"/>
                  </a:cubicBezTo>
                  <a:cubicBezTo>
                    <a:pt x="14" y="97"/>
                    <a:pt x="0" y="116"/>
                    <a:pt x="0" y="137"/>
                  </a:cubicBezTo>
                  <a:cubicBezTo>
                    <a:pt x="1" y="158"/>
                    <a:pt x="14" y="176"/>
                    <a:pt x="34" y="186"/>
                  </a:cubicBezTo>
                  <a:cubicBezTo>
                    <a:pt x="31" y="193"/>
                    <a:pt x="29" y="201"/>
                    <a:pt x="29" y="210"/>
                  </a:cubicBezTo>
                  <a:cubicBezTo>
                    <a:pt x="29" y="227"/>
                    <a:pt x="37" y="241"/>
                    <a:pt x="48" y="249"/>
                  </a:cubicBezTo>
                  <a:cubicBezTo>
                    <a:pt x="35" y="256"/>
                    <a:pt x="27" y="265"/>
                    <a:pt x="28" y="274"/>
                  </a:cubicBezTo>
                  <a:cubicBezTo>
                    <a:pt x="28" y="293"/>
                    <a:pt x="60" y="308"/>
                    <a:pt x="102" y="311"/>
                  </a:cubicBezTo>
                  <a:cubicBezTo>
                    <a:pt x="103" y="313"/>
                    <a:pt x="103" y="316"/>
                    <a:pt x="104" y="318"/>
                  </a:cubicBezTo>
                  <a:cubicBezTo>
                    <a:pt x="108" y="328"/>
                    <a:pt x="105" y="384"/>
                    <a:pt x="104" y="395"/>
                  </a:cubicBezTo>
                  <a:cubicBezTo>
                    <a:pt x="112" y="398"/>
                    <a:pt x="128" y="395"/>
                    <a:pt x="128" y="395"/>
                  </a:cubicBezTo>
                  <a:cubicBezTo>
                    <a:pt x="128" y="395"/>
                    <a:pt x="123" y="383"/>
                    <a:pt x="124" y="354"/>
                  </a:cubicBezTo>
                  <a:cubicBezTo>
                    <a:pt x="124" y="340"/>
                    <a:pt x="127" y="324"/>
                    <a:pt x="129" y="311"/>
                  </a:cubicBezTo>
                  <a:cubicBezTo>
                    <a:pt x="176" y="308"/>
                    <a:pt x="213" y="291"/>
                    <a:pt x="213" y="270"/>
                  </a:cubicBezTo>
                  <a:cubicBezTo>
                    <a:pt x="212" y="262"/>
                    <a:pt x="206" y="254"/>
                    <a:pt x="195" y="248"/>
                  </a:cubicBezTo>
                  <a:close/>
                </a:path>
              </a:pathLst>
            </a:custGeom>
            <a:solidFill>
              <a:srgbClr val="CDD9E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44" name="Freeform 80"/>
            <p:cNvSpPr>
              <a:spLocks/>
            </p:cNvSpPr>
            <p:nvPr/>
          </p:nvSpPr>
          <p:spPr bwMode="gray">
            <a:xfrm>
              <a:off x="9944962" y="5414593"/>
              <a:ext cx="223161" cy="435280"/>
            </a:xfrm>
            <a:custGeom>
              <a:avLst/>
              <a:gdLst>
                <a:gd name="T0" fmla="*/ 156 w 159"/>
                <a:gd name="T1" fmla="*/ 178 h 314"/>
                <a:gd name="T2" fmla="*/ 120 w 159"/>
                <a:gd name="T3" fmla="*/ 151 h 314"/>
                <a:gd name="T4" fmla="*/ 132 w 159"/>
                <a:gd name="T5" fmla="*/ 135 h 314"/>
                <a:gd name="T6" fmla="*/ 145 w 159"/>
                <a:gd name="T7" fmla="*/ 120 h 314"/>
                <a:gd name="T8" fmla="*/ 102 w 159"/>
                <a:gd name="T9" fmla="*/ 97 h 314"/>
                <a:gd name="T10" fmla="*/ 102 w 159"/>
                <a:gd name="T11" fmla="*/ 65 h 314"/>
                <a:gd name="T12" fmla="*/ 116 w 159"/>
                <a:gd name="T13" fmla="*/ 44 h 314"/>
                <a:gd name="T14" fmla="*/ 107 w 159"/>
                <a:gd name="T15" fmla="*/ 33 h 314"/>
                <a:gd name="T16" fmla="*/ 95 w 159"/>
                <a:gd name="T17" fmla="*/ 32 h 314"/>
                <a:gd name="T18" fmla="*/ 97 w 159"/>
                <a:gd name="T19" fmla="*/ 22 h 314"/>
                <a:gd name="T20" fmla="*/ 77 w 159"/>
                <a:gd name="T21" fmla="*/ 10 h 314"/>
                <a:gd name="T22" fmla="*/ 79 w 159"/>
                <a:gd name="T23" fmla="*/ 37 h 314"/>
                <a:gd name="T24" fmla="*/ 72 w 159"/>
                <a:gd name="T25" fmla="*/ 66 h 314"/>
                <a:gd name="T26" fmla="*/ 64 w 159"/>
                <a:gd name="T27" fmla="*/ 91 h 314"/>
                <a:gd name="T28" fmla="*/ 50 w 159"/>
                <a:gd name="T29" fmla="*/ 117 h 314"/>
                <a:gd name="T30" fmla="*/ 60 w 159"/>
                <a:gd name="T31" fmla="*/ 168 h 314"/>
                <a:gd name="T32" fmla="*/ 60 w 159"/>
                <a:gd name="T33" fmla="*/ 189 h 314"/>
                <a:gd name="T34" fmla="*/ 45 w 159"/>
                <a:gd name="T35" fmla="*/ 199 h 314"/>
                <a:gd name="T36" fmla="*/ 39 w 159"/>
                <a:gd name="T37" fmla="*/ 211 h 314"/>
                <a:gd name="T38" fmla="*/ 23 w 159"/>
                <a:gd name="T39" fmla="*/ 222 h 314"/>
                <a:gd name="T40" fmla="*/ 76 w 159"/>
                <a:gd name="T41" fmla="*/ 237 h 314"/>
                <a:gd name="T42" fmla="*/ 66 w 159"/>
                <a:gd name="T43" fmla="*/ 313 h 314"/>
                <a:gd name="T44" fmla="*/ 92 w 159"/>
                <a:gd name="T45" fmla="*/ 314 h 314"/>
                <a:gd name="T46" fmla="*/ 95 w 159"/>
                <a:gd name="T47" fmla="*/ 253 h 314"/>
                <a:gd name="T48" fmla="*/ 122 w 159"/>
                <a:gd name="T49" fmla="*/ 226 h 314"/>
                <a:gd name="T50" fmla="*/ 128 w 159"/>
                <a:gd name="T51" fmla="*/ 204 h 314"/>
                <a:gd name="T52" fmla="*/ 156 w 159"/>
                <a:gd name="T53" fmla="*/ 178 h 314"/>
                <a:gd name="T54" fmla="*/ 156 w 159"/>
                <a:gd name="T55" fmla="*/ 178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9" h="314">
                  <a:moveTo>
                    <a:pt x="156" y="178"/>
                  </a:moveTo>
                  <a:cubicBezTo>
                    <a:pt x="155" y="161"/>
                    <a:pt x="133" y="153"/>
                    <a:pt x="120" y="151"/>
                  </a:cubicBezTo>
                  <a:cubicBezTo>
                    <a:pt x="132" y="134"/>
                    <a:pt x="113" y="143"/>
                    <a:pt x="132" y="135"/>
                  </a:cubicBezTo>
                  <a:cubicBezTo>
                    <a:pt x="138" y="133"/>
                    <a:pt x="145" y="127"/>
                    <a:pt x="145" y="120"/>
                  </a:cubicBezTo>
                  <a:cubicBezTo>
                    <a:pt x="145" y="99"/>
                    <a:pt x="112" y="104"/>
                    <a:pt x="102" y="97"/>
                  </a:cubicBezTo>
                  <a:cubicBezTo>
                    <a:pt x="125" y="91"/>
                    <a:pt x="124" y="70"/>
                    <a:pt x="102" y="65"/>
                  </a:cubicBezTo>
                  <a:cubicBezTo>
                    <a:pt x="103" y="63"/>
                    <a:pt x="116" y="65"/>
                    <a:pt x="116" y="44"/>
                  </a:cubicBezTo>
                  <a:cubicBezTo>
                    <a:pt x="115" y="39"/>
                    <a:pt x="112" y="35"/>
                    <a:pt x="107" y="33"/>
                  </a:cubicBezTo>
                  <a:cubicBezTo>
                    <a:pt x="102" y="32"/>
                    <a:pt x="95" y="32"/>
                    <a:pt x="95" y="32"/>
                  </a:cubicBezTo>
                  <a:cubicBezTo>
                    <a:pt x="95" y="32"/>
                    <a:pt x="98" y="26"/>
                    <a:pt x="97" y="22"/>
                  </a:cubicBezTo>
                  <a:cubicBezTo>
                    <a:pt x="93" y="10"/>
                    <a:pt x="82" y="0"/>
                    <a:pt x="77" y="10"/>
                  </a:cubicBezTo>
                  <a:cubicBezTo>
                    <a:pt x="72" y="18"/>
                    <a:pt x="67" y="35"/>
                    <a:pt x="79" y="37"/>
                  </a:cubicBezTo>
                  <a:cubicBezTo>
                    <a:pt x="72" y="43"/>
                    <a:pt x="60" y="60"/>
                    <a:pt x="72" y="66"/>
                  </a:cubicBezTo>
                  <a:cubicBezTo>
                    <a:pt x="62" y="70"/>
                    <a:pt x="53" y="82"/>
                    <a:pt x="64" y="91"/>
                  </a:cubicBezTo>
                  <a:cubicBezTo>
                    <a:pt x="54" y="94"/>
                    <a:pt x="37" y="105"/>
                    <a:pt x="50" y="117"/>
                  </a:cubicBezTo>
                  <a:cubicBezTo>
                    <a:pt x="12" y="130"/>
                    <a:pt x="28" y="162"/>
                    <a:pt x="60" y="168"/>
                  </a:cubicBezTo>
                  <a:cubicBezTo>
                    <a:pt x="55" y="175"/>
                    <a:pt x="55" y="182"/>
                    <a:pt x="60" y="189"/>
                  </a:cubicBezTo>
                  <a:cubicBezTo>
                    <a:pt x="54" y="191"/>
                    <a:pt x="49" y="195"/>
                    <a:pt x="45" y="199"/>
                  </a:cubicBezTo>
                  <a:cubicBezTo>
                    <a:pt x="41" y="202"/>
                    <a:pt x="39" y="206"/>
                    <a:pt x="39" y="211"/>
                  </a:cubicBezTo>
                  <a:cubicBezTo>
                    <a:pt x="39" y="217"/>
                    <a:pt x="27" y="217"/>
                    <a:pt x="23" y="222"/>
                  </a:cubicBezTo>
                  <a:cubicBezTo>
                    <a:pt x="0" y="252"/>
                    <a:pt x="74" y="236"/>
                    <a:pt x="76" y="237"/>
                  </a:cubicBezTo>
                  <a:cubicBezTo>
                    <a:pt x="75" y="264"/>
                    <a:pt x="73" y="287"/>
                    <a:pt x="66" y="313"/>
                  </a:cubicBezTo>
                  <a:cubicBezTo>
                    <a:pt x="80" y="313"/>
                    <a:pt x="92" y="314"/>
                    <a:pt x="92" y="314"/>
                  </a:cubicBezTo>
                  <a:cubicBezTo>
                    <a:pt x="86" y="292"/>
                    <a:pt x="87" y="267"/>
                    <a:pt x="95" y="253"/>
                  </a:cubicBezTo>
                  <a:cubicBezTo>
                    <a:pt x="119" y="263"/>
                    <a:pt x="159" y="235"/>
                    <a:pt x="122" y="226"/>
                  </a:cubicBezTo>
                  <a:cubicBezTo>
                    <a:pt x="129" y="220"/>
                    <a:pt x="132" y="212"/>
                    <a:pt x="128" y="204"/>
                  </a:cubicBezTo>
                  <a:cubicBezTo>
                    <a:pt x="139" y="200"/>
                    <a:pt x="156" y="192"/>
                    <a:pt x="156" y="178"/>
                  </a:cubicBezTo>
                  <a:cubicBezTo>
                    <a:pt x="156" y="165"/>
                    <a:pt x="156" y="189"/>
                    <a:pt x="156" y="178"/>
                  </a:cubicBezTo>
                  <a:close/>
                </a:path>
              </a:pathLst>
            </a:custGeom>
            <a:solidFill>
              <a:srgbClr val="CDD9E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45" name="Freeform 11"/>
            <p:cNvSpPr>
              <a:spLocks/>
            </p:cNvSpPr>
            <p:nvPr/>
          </p:nvSpPr>
          <p:spPr bwMode="gray">
            <a:xfrm>
              <a:off x="6296025" y="3928693"/>
              <a:ext cx="1085850" cy="1921180"/>
            </a:xfrm>
            <a:custGeom>
              <a:avLst/>
              <a:gdLst>
                <a:gd name="T0" fmla="*/ 0 w 684"/>
                <a:gd name="T1" fmla="*/ 0 h 1206"/>
                <a:gd name="T2" fmla="*/ 0 w 684"/>
                <a:gd name="T3" fmla="*/ 608 h 1206"/>
                <a:gd name="T4" fmla="*/ 164 w 684"/>
                <a:gd name="T5" fmla="*/ 713 h 1206"/>
                <a:gd name="T6" fmla="*/ 182 w 684"/>
                <a:gd name="T7" fmla="*/ 725 h 1206"/>
                <a:gd name="T8" fmla="*/ 171 w 684"/>
                <a:gd name="T9" fmla="*/ 741 h 1206"/>
                <a:gd name="T10" fmla="*/ 153 w 684"/>
                <a:gd name="T11" fmla="*/ 769 h 1206"/>
                <a:gd name="T12" fmla="*/ 141 w 684"/>
                <a:gd name="T13" fmla="*/ 787 h 1206"/>
                <a:gd name="T14" fmla="*/ 133 w 684"/>
                <a:gd name="T15" fmla="*/ 781 h 1206"/>
                <a:gd name="T16" fmla="*/ 133 w 684"/>
                <a:gd name="T17" fmla="*/ 1206 h 1206"/>
                <a:gd name="T18" fmla="*/ 684 w 684"/>
                <a:gd name="T19" fmla="*/ 1206 h 1206"/>
                <a:gd name="T20" fmla="*/ 684 w 684"/>
                <a:gd name="T21" fmla="*/ 0 h 1206"/>
                <a:gd name="T22" fmla="*/ 0 w 684"/>
                <a:gd name="T23" fmla="*/ 0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84" h="1206">
                  <a:moveTo>
                    <a:pt x="0" y="0"/>
                  </a:moveTo>
                  <a:lnTo>
                    <a:pt x="0" y="608"/>
                  </a:lnTo>
                  <a:lnTo>
                    <a:pt x="164" y="713"/>
                  </a:lnTo>
                  <a:lnTo>
                    <a:pt x="182" y="725"/>
                  </a:lnTo>
                  <a:lnTo>
                    <a:pt x="171" y="741"/>
                  </a:lnTo>
                  <a:lnTo>
                    <a:pt x="153" y="769"/>
                  </a:lnTo>
                  <a:lnTo>
                    <a:pt x="141" y="787"/>
                  </a:lnTo>
                  <a:lnTo>
                    <a:pt x="133" y="781"/>
                  </a:lnTo>
                  <a:lnTo>
                    <a:pt x="133" y="1206"/>
                  </a:lnTo>
                  <a:lnTo>
                    <a:pt x="684" y="1206"/>
                  </a:lnTo>
                  <a:lnTo>
                    <a:pt x="68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CDD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46" name="Freeform 12"/>
            <p:cNvSpPr>
              <a:spLocks/>
            </p:cNvSpPr>
            <p:nvPr/>
          </p:nvSpPr>
          <p:spPr bwMode="gray">
            <a:xfrm>
              <a:off x="5192713" y="4474793"/>
              <a:ext cx="571500" cy="1368425"/>
            </a:xfrm>
            <a:custGeom>
              <a:avLst/>
              <a:gdLst>
                <a:gd name="T0" fmla="*/ 300 w 360"/>
                <a:gd name="T1" fmla="*/ 435 h 859"/>
                <a:gd name="T2" fmla="*/ 291 w 360"/>
                <a:gd name="T3" fmla="*/ 443 h 859"/>
                <a:gd name="T4" fmla="*/ 279 w 360"/>
                <a:gd name="T5" fmla="*/ 425 h 859"/>
                <a:gd name="T6" fmla="*/ 261 w 360"/>
                <a:gd name="T7" fmla="*/ 397 h 859"/>
                <a:gd name="T8" fmla="*/ 251 w 360"/>
                <a:gd name="T9" fmla="*/ 381 h 859"/>
                <a:gd name="T10" fmla="*/ 268 w 360"/>
                <a:gd name="T11" fmla="*/ 369 h 859"/>
                <a:gd name="T12" fmla="*/ 360 w 360"/>
                <a:gd name="T13" fmla="*/ 312 h 859"/>
                <a:gd name="T14" fmla="*/ 360 w 360"/>
                <a:gd name="T15" fmla="*/ 0 h 859"/>
                <a:gd name="T16" fmla="*/ 0 w 360"/>
                <a:gd name="T17" fmla="*/ 0 h 859"/>
                <a:gd name="T18" fmla="*/ 0 w 360"/>
                <a:gd name="T19" fmla="*/ 859 h 859"/>
                <a:gd name="T20" fmla="*/ 300 w 360"/>
                <a:gd name="T21" fmla="*/ 859 h 859"/>
                <a:gd name="T22" fmla="*/ 300 w 360"/>
                <a:gd name="T23" fmla="*/ 435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0" h="859">
                  <a:moveTo>
                    <a:pt x="300" y="435"/>
                  </a:moveTo>
                  <a:lnTo>
                    <a:pt x="291" y="443"/>
                  </a:lnTo>
                  <a:lnTo>
                    <a:pt x="279" y="425"/>
                  </a:lnTo>
                  <a:lnTo>
                    <a:pt x="261" y="397"/>
                  </a:lnTo>
                  <a:lnTo>
                    <a:pt x="251" y="381"/>
                  </a:lnTo>
                  <a:lnTo>
                    <a:pt x="268" y="369"/>
                  </a:lnTo>
                  <a:lnTo>
                    <a:pt x="360" y="312"/>
                  </a:lnTo>
                  <a:lnTo>
                    <a:pt x="360" y="0"/>
                  </a:lnTo>
                  <a:lnTo>
                    <a:pt x="0" y="0"/>
                  </a:lnTo>
                  <a:lnTo>
                    <a:pt x="0" y="859"/>
                  </a:lnTo>
                  <a:lnTo>
                    <a:pt x="300" y="859"/>
                  </a:lnTo>
                  <a:lnTo>
                    <a:pt x="300" y="435"/>
                  </a:ln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47" name="Rectangle 13"/>
            <p:cNvSpPr>
              <a:spLocks noChangeArrowheads="1"/>
            </p:cNvSpPr>
            <p:nvPr/>
          </p:nvSpPr>
          <p:spPr bwMode="gray">
            <a:xfrm>
              <a:off x="5275263" y="5709868"/>
              <a:ext cx="93663" cy="1333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48" name="Rectangle 14"/>
            <p:cNvSpPr>
              <a:spLocks noChangeArrowheads="1"/>
            </p:cNvSpPr>
            <p:nvPr/>
          </p:nvSpPr>
          <p:spPr bwMode="gray">
            <a:xfrm>
              <a:off x="5432425" y="5709868"/>
              <a:ext cx="90488" cy="1333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49" name="Rectangle 15"/>
            <p:cNvSpPr>
              <a:spLocks noChangeArrowheads="1"/>
            </p:cNvSpPr>
            <p:nvPr/>
          </p:nvSpPr>
          <p:spPr bwMode="gray">
            <a:xfrm>
              <a:off x="5586413" y="5709868"/>
              <a:ext cx="82550" cy="1333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50" name="Rectangle 16"/>
            <p:cNvSpPr>
              <a:spLocks noChangeArrowheads="1"/>
            </p:cNvSpPr>
            <p:nvPr/>
          </p:nvSpPr>
          <p:spPr bwMode="gray">
            <a:xfrm>
              <a:off x="5230813" y="4530356"/>
              <a:ext cx="63500" cy="11112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51" name="Rectangle 17"/>
            <p:cNvSpPr>
              <a:spLocks noChangeArrowheads="1"/>
            </p:cNvSpPr>
            <p:nvPr/>
          </p:nvSpPr>
          <p:spPr bwMode="gray">
            <a:xfrm>
              <a:off x="5340350" y="4530356"/>
              <a:ext cx="63500" cy="11112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52" name="Rectangle 18"/>
            <p:cNvSpPr>
              <a:spLocks noChangeArrowheads="1"/>
            </p:cNvSpPr>
            <p:nvPr/>
          </p:nvSpPr>
          <p:spPr bwMode="gray">
            <a:xfrm>
              <a:off x="5449888" y="4530356"/>
              <a:ext cx="63500" cy="11112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53" name="Rectangle 19"/>
            <p:cNvSpPr>
              <a:spLocks noChangeArrowheads="1"/>
            </p:cNvSpPr>
            <p:nvPr/>
          </p:nvSpPr>
          <p:spPr bwMode="gray">
            <a:xfrm>
              <a:off x="5557838" y="4530356"/>
              <a:ext cx="61913" cy="11112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54" name="Rectangle 20"/>
            <p:cNvSpPr>
              <a:spLocks noChangeArrowheads="1"/>
            </p:cNvSpPr>
            <p:nvPr/>
          </p:nvSpPr>
          <p:spPr bwMode="gray">
            <a:xfrm>
              <a:off x="5667375" y="4530356"/>
              <a:ext cx="61913" cy="11112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55" name="Rectangle 21"/>
            <p:cNvSpPr>
              <a:spLocks noChangeArrowheads="1"/>
            </p:cNvSpPr>
            <p:nvPr/>
          </p:nvSpPr>
          <p:spPr bwMode="gray">
            <a:xfrm>
              <a:off x="5230813" y="4728793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56" name="Rectangle 22"/>
            <p:cNvSpPr>
              <a:spLocks noChangeArrowheads="1"/>
            </p:cNvSpPr>
            <p:nvPr/>
          </p:nvSpPr>
          <p:spPr bwMode="gray">
            <a:xfrm>
              <a:off x="5287963" y="4728793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57" name="Rectangle 23"/>
            <p:cNvSpPr>
              <a:spLocks noChangeArrowheads="1"/>
            </p:cNvSpPr>
            <p:nvPr/>
          </p:nvSpPr>
          <p:spPr bwMode="gray">
            <a:xfrm>
              <a:off x="5346700" y="4728793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58" name="Rectangle 24"/>
            <p:cNvSpPr>
              <a:spLocks noChangeArrowheads="1"/>
            </p:cNvSpPr>
            <p:nvPr/>
          </p:nvSpPr>
          <p:spPr bwMode="gray">
            <a:xfrm>
              <a:off x="5403850" y="4728793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59" name="Rectangle 25"/>
            <p:cNvSpPr>
              <a:spLocks noChangeArrowheads="1"/>
            </p:cNvSpPr>
            <p:nvPr/>
          </p:nvSpPr>
          <p:spPr bwMode="gray">
            <a:xfrm>
              <a:off x="5461000" y="4728793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60" name="Rectangle 26"/>
            <p:cNvSpPr>
              <a:spLocks noChangeArrowheads="1"/>
            </p:cNvSpPr>
            <p:nvPr/>
          </p:nvSpPr>
          <p:spPr bwMode="gray">
            <a:xfrm>
              <a:off x="5518150" y="4728793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61" name="Rectangle 27"/>
            <p:cNvSpPr>
              <a:spLocks noChangeArrowheads="1"/>
            </p:cNvSpPr>
            <p:nvPr/>
          </p:nvSpPr>
          <p:spPr bwMode="gray">
            <a:xfrm>
              <a:off x="5575300" y="4728793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62" name="Rectangle 28"/>
            <p:cNvSpPr>
              <a:spLocks noChangeArrowheads="1"/>
            </p:cNvSpPr>
            <p:nvPr/>
          </p:nvSpPr>
          <p:spPr bwMode="gray">
            <a:xfrm>
              <a:off x="5632450" y="4728793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63" name="Rectangle 29"/>
            <p:cNvSpPr>
              <a:spLocks noChangeArrowheads="1"/>
            </p:cNvSpPr>
            <p:nvPr/>
          </p:nvSpPr>
          <p:spPr bwMode="gray">
            <a:xfrm>
              <a:off x="5692775" y="4728793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64" name="Rectangle 30"/>
            <p:cNvSpPr>
              <a:spLocks noChangeArrowheads="1"/>
            </p:cNvSpPr>
            <p:nvPr/>
          </p:nvSpPr>
          <p:spPr bwMode="gray">
            <a:xfrm>
              <a:off x="5230813" y="4785943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65" name="Rectangle 31"/>
            <p:cNvSpPr>
              <a:spLocks noChangeArrowheads="1"/>
            </p:cNvSpPr>
            <p:nvPr/>
          </p:nvSpPr>
          <p:spPr bwMode="gray">
            <a:xfrm>
              <a:off x="5287963" y="4785943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66" name="Rectangle 32"/>
            <p:cNvSpPr>
              <a:spLocks noChangeArrowheads="1"/>
            </p:cNvSpPr>
            <p:nvPr/>
          </p:nvSpPr>
          <p:spPr bwMode="gray">
            <a:xfrm>
              <a:off x="5346700" y="4785943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67" name="Rectangle 33"/>
            <p:cNvSpPr>
              <a:spLocks noChangeArrowheads="1"/>
            </p:cNvSpPr>
            <p:nvPr/>
          </p:nvSpPr>
          <p:spPr bwMode="gray">
            <a:xfrm>
              <a:off x="5403850" y="4785943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68" name="Rectangle 34"/>
            <p:cNvSpPr>
              <a:spLocks noChangeArrowheads="1"/>
            </p:cNvSpPr>
            <p:nvPr/>
          </p:nvSpPr>
          <p:spPr bwMode="gray">
            <a:xfrm>
              <a:off x="5461000" y="4785943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69" name="Rectangle 35"/>
            <p:cNvSpPr>
              <a:spLocks noChangeArrowheads="1"/>
            </p:cNvSpPr>
            <p:nvPr/>
          </p:nvSpPr>
          <p:spPr bwMode="gray">
            <a:xfrm>
              <a:off x="5518150" y="4785943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70" name="Rectangle 36"/>
            <p:cNvSpPr>
              <a:spLocks noChangeArrowheads="1"/>
            </p:cNvSpPr>
            <p:nvPr/>
          </p:nvSpPr>
          <p:spPr bwMode="gray">
            <a:xfrm>
              <a:off x="5575300" y="4785943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71" name="Rectangle 37"/>
            <p:cNvSpPr>
              <a:spLocks noChangeArrowheads="1"/>
            </p:cNvSpPr>
            <p:nvPr/>
          </p:nvSpPr>
          <p:spPr bwMode="gray">
            <a:xfrm>
              <a:off x="5632450" y="4785943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72" name="Rectangle 38"/>
            <p:cNvSpPr>
              <a:spLocks noChangeArrowheads="1"/>
            </p:cNvSpPr>
            <p:nvPr/>
          </p:nvSpPr>
          <p:spPr bwMode="gray">
            <a:xfrm>
              <a:off x="5692775" y="4785943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73" name="Rectangle 39"/>
            <p:cNvSpPr>
              <a:spLocks noChangeArrowheads="1"/>
            </p:cNvSpPr>
            <p:nvPr/>
          </p:nvSpPr>
          <p:spPr bwMode="gray">
            <a:xfrm>
              <a:off x="5230813" y="4843093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74" name="Rectangle 40"/>
            <p:cNvSpPr>
              <a:spLocks noChangeArrowheads="1"/>
            </p:cNvSpPr>
            <p:nvPr/>
          </p:nvSpPr>
          <p:spPr bwMode="gray">
            <a:xfrm>
              <a:off x="5287963" y="4843093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75" name="Rectangle 41"/>
            <p:cNvSpPr>
              <a:spLocks noChangeArrowheads="1"/>
            </p:cNvSpPr>
            <p:nvPr/>
          </p:nvSpPr>
          <p:spPr bwMode="gray">
            <a:xfrm>
              <a:off x="5346700" y="4843093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76" name="Rectangle 42"/>
            <p:cNvSpPr>
              <a:spLocks noChangeArrowheads="1"/>
            </p:cNvSpPr>
            <p:nvPr/>
          </p:nvSpPr>
          <p:spPr bwMode="gray">
            <a:xfrm>
              <a:off x="5403850" y="4843093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77" name="Rectangle 43"/>
            <p:cNvSpPr>
              <a:spLocks noChangeArrowheads="1"/>
            </p:cNvSpPr>
            <p:nvPr/>
          </p:nvSpPr>
          <p:spPr bwMode="gray">
            <a:xfrm>
              <a:off x="5461000" y="4843093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78" name="Rectangle 44"/>
            <p:cNvSpPr>
              <a:spLocks noChangeArrowheads="1"/>
            </p:cNvSpPr>
            <p:nvPr/>
          </p:nvSpPr>
          <p:spPr bwMode="gray">
            <a:xfrm>
              <a:off x="5518150" y="4843093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79" name="Rectangle 45"/>
            <p:cNvSpPr>
              <a:spLocks noChangeArrowheads="1"/>
            </p:cNvSpPr>
            <p:nvPr/>
          </p:nvSpPr>
          <p:spPr bwMode="gray">
            <a:xfrm>
              <a:off x="5575300" y="4843093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80" name="Rectangle 46"/>
            <p:cNvSpPr>
              <a:spLocks noChangeArrowheads="1"/>
            </p:cNvSpPr>
            <p:nvPr/>
          </p:nvSpPr>
          <p:spPr bwMode="gray">
            <a:xfrm>
              <a:off x="5632450" y="4843093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81" name="Rectangle 47"/>
            <p:cNvSpPr>
              <a:spLocks noChangeArrowheads="1"/>
            </p:cNvSpPr>
            <p:nvPr/>
          </p:nvSpPr>
          <p:spPr bwMode="gray">
            <a:xfrm>
              <a:off x="5692775" y="4843093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82" name="Rectangle 48"/>
            <p:cNvSpPr>
              <a:spLocks noChangeArrowheads="1"/>
            </p:cNvSpPr>
            <p:nvPr/>
          </p:nvSpPr>
          <p:spPr bwMode="gray">
            <a:xfrm>
              <a:off x="5230813" y="4901831"/>
              <a:ext cx="31750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83" name="Rectangle 49"/>
            <p:cNvSpPr>
              <a:spLocks noChangeArrowheads="1"/>
            </p:cNvSpPr>
            <p:nvPr/>
          </p:nvSpPr>
          <p:spPr bwMode="gray">
            <a:xfrm>
              <a:off x="5287963" y="4901831"/>
              <a:ext cx="31750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84" name="Rectangle 50"/>
            <p:cNvSpPr>
              <a:spLocks noChangeArrowheads="1"/>
            </p:cNvSpPr>
            <p:nvPr/>
          </p:nvSpPr>
          <p:spPr bwMode="gray">
            <a:xfrm>
              <a:off x="5346700" y="4901831"/>
              <a:ext cx="33338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85" name="Rectangle 51"/>
            <p:cNvSpPr>
              <a:spLocks noChangeArrowheads="1"/>
            </p:cNvSpPr>
            <p:nvPr/>
          </p:nvSpPr>
          <p:spPr bwMode="gray">
            <a:xfrm>
              <a:off x="5403850" y="4901831"/>
              <a:ext cx="33338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86" name="Rectangle 52"/>
            <p:cNvSpPr>
              <a:spLocks noChangeArrowheads="1"/>
            </p:cNvSpPr>
            <p:nvPr/>
          </p:nvSpPr>
          <p:spPr bwMode="gray">
            <a:xfrm>
              <a:off x="5461000" y="4901831"/>
              <a:ext cx="33338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87" name="Rectangle 53"/>
            <p:cNvSpPr>
              <a:spLocks noChangeArrowheads="1"/>
            </p:cNvSpPr>
            <p:nvPr/>
          </p:nvSpPr>
          <p:spPr bwMode="gray">
            <a:xfrm>
              <a:off x="5518150" y="4901831"/>
              <a:ext cx="33338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88" name="Rectangle 54"/>
            <p:cNvSpPr>
              <a:spLocks noChangeArrowheads="1"/>
            </p:cNvSpPr>
            <p:nvPr/>
          </p:nvSpPr>
          <p:spPr bwMode="gray">
            <a:xfrm>
              <a:off x="5575300" y="4901831"/>
              <a:ext cx="34925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89" name="Rectangle 55"/>
            <p:cNvSpPr>
              <a:spLocks noChangeArrowheads="1"/>
            </p:cNvSpPr>
            <p:nvPr/>
          </p:nvSpPr>
          <p:spPr bwMode="gray">
            <a:xfrm>
              <a:off x="5632450" y="4901831"/>
              <a:ext cx="34925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90" name="Rectangle 56"/>
            <p:cNvSpPr>
              <a:spLocks noChangeArrowheads="1"/>
            </p:cNvSpPr>
            <p:nvPr/>
          </p:nvSpPr>
          <p:spPr bwMode="gray">
            <a:xfrm>
              <a:off x="5692775" y="4901831"/>
              <a:ext cx="31750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91" name="Rectangle 57"/>
            <p:cNvSpPr>
              <a:spLocks noChangeArrowheads="1"/>
            </p:cNvSpPr>
            <p:nvPr/>
          </p:nvSpPr>
          <p:spPr bwMode="gray">
            <a:xfrm>
              <a:off x="5230813" y="4958981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92" name="Rectangle 58"/>
            <p:cNvSpPr>
              <a:spLocks noChangeArrowheads="1"/>
            </p:cNvSpPr>
            <p:nvPr/>
          </p:nvSpPr>
          <p:spPr bwMode="gray">
            <a:xfrm>
              <a:off x="5287963" y="4958981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93" name="Rectangle 59"/>
            <p:cNvSpPr>
              <a:spLocks noChangeArrowheads="1"/>
            </p:cNvSpPr>
            <p:nvPr/>
          </p:nvSpPr>
          <p:spPr bwMode="gray">
            <a:xfrm>
              <a:off x="5346700" y="4958981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94" name="Rectangle 60"/>
            <p:cNvSpPr>
              <a:spLocks noChangeArrowheads="1"/>
            </p:cNvSpPr>
            <p:nvPr/>
          </p:nvSpPr>
          <p:spPr bwMode="gray">
            <a:xfrm>
              <a:off x="5403850" y="4958981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95" name="Rectangle 61"/>
            <p:cNvSpPr>
              <a:spLocks noChangeArrowheads="1"/>
            </p:cNvSpPr>
            <p:nvPr/>
          </p:nvSpPr>
          <p:spPr bwMode="gray">
            <a:xfrm>
              <a:off x="5461000" y="4958981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96" name="Rectangle 62"/>
            <p:cNvSpPr>
              <a:spLocks noChangeArrowheads="1"/>
            </p:cNvSpPr>
            <p:nvPr/>
          </p:nvSpPr>
          <p:spPr bwMode="gray">
            <a:xfrm>
              <a:off x="5518150" y="4958981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97" name="Rectangle 63"/>
            <p:cNvSpPr>
              <a:spLocks noChangeArrowheads="1"/>
            </p:cNvSpPr>
            <p:nvPr/>
          </p:nvSpPr>
          <p:spPr bwMode="gray">
            <a:xfrm>
              <a:off x="5575300" y="4958981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98" name="Rectangle 64"/>
            <p:cNvSpPr>
              <a:spLocks noChangeArrowheads="1"/>
            </p:cNvSpPr>
            <p:nvPr/>
          </p:nvSpPr>
          <p:spPr bwMode="gray">
            <a:xfrm>
              <a:off x="5632450" y="4958981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99" name="Rectangle 65"/>
            <p:cNvSpPr>
              <a:spLocks noChangeArrowheads="1"/>
            </p:cNvSpPr>
            <p:nvPr/>
          </p:nvSpPr>
          <p:spPr bwMode="gray">
            <a:xfrm>
              <a:off x="5692775" y="4958981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00" name="Rectangle 66"/>
            <p:cNvSpPr>
              <a:spLocks noChangeArrowheads="1"/>
            </p:cNvSpPr>
            <p:nvPr/>
          </p:nvSpPr>
          <p:spPr bwMode="gray">
            <a:xfrm>
              <a:off x="5230813" y="5016131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01" name="Rectangle 67"/>
            <p:cNvSpPr>
              <a:spLocks noChangeArrowheads="1"/>
            </p:cNvSpPr>
            <p:nvPr/>
          </p:nvSpPr>
          <p:spPr bwMode="gray">
            <a:xfrm>
              <a:off x="5287963" y="5016131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02" name="Rectangle 68"/>
            <p:cNvSpPr>
              <a:spLocks noChangeArrowheads="1"/>
            </p:cNvSpPr>
            <p:nvPr/>
          </p:nvSpPr>
          <p:spPr bwMode="gray">
            <a:xfrm>
              <a:off x="5346700" y="5016131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03" name="Rectangle 69"/>
            <p:cNvSpPr>
              <a:spLocks noChangeArrowheads="1"/>
            </p:cNvSpPr>
            <p:nvPr/>
          </p:nvSpPr>
          <p:spPr bwMode="gray">
            <a:xfrm>
              <a:off x="5403850" y="5016131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04" name="Rectangle 70"/>
            <p:cNvSpPr>
              <a:spLocks noChangeArrowheads="1"/>
            </p:cNvSpPr>
            <p:nvPr/>
          </p:nvSpPr>
          <p:spPr bwMode="gray">
            <a:xfrm>
              <a:off x="5461000" y="5016131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05" name="Rectangle 71"/>
            <p:cNvSpPr>
              <a:spLocks noChangeArrowheads="1"/>
            </p:cNvSpPr>
            <p:nvPr/>
          </p:nvSpPr>
          <p:spPr bwMode="gray">
            <a:xfrm>
              <a:off x="5518150" y="5016131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06" name="Rectangle 72"/>
            <p:cNvSpPr>
              <a:spLocks noChangeArrowheads="1"/>
            </p:cNvSpPr>
            <p:nvPr/>
          </p:nvSpPr>
          <p:spPr bwMode="gray">
            <a:xfrm>
              <a:off x="5575300" y="5016131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07" name="Freeform 73"/>
            <p:cNvSpPr>
              <a:spLocks/>
            </p:cNvSpPr>
            <p:nvPr/>
          </p:nvSpPr>
          <p:spPr bwMode="gray">
            <a:xfrm>
              <a:off x="5632450" y="5016131"/>
              <a:ext cx="34925" cy="31750"/>
            </a:xfrm>
            <a:custGeom>
              <a:avLst/>
              <a:gdLst>
                <a:gd name="T0" fmla="*/ 4 w 22"/>
                <a:gd name="T1" fmla="*/ 20 h 20"/>
                <a:gd name="T2" fmla="*/ 0 w 22"/>
                <a:gd name="T3" fmla="*/ 20 h 20"/>
                <a:gd name="T4" fmla="*/ 0 w 22"/>
                <a:gd name="T5" fmla="*/ 0 h 20"/>
                <a:gd name="T6" fmla="*/ 22 w 22"/>
                <a:gd name="T7" fmla="*/ 0 h 20"/>
                <a:gd name="T8" fmla="*/ 22 w 22"/>
                <a:gd name="T9" fmla="*/ 8 h 20"/>
                <a:gd name="T10" fmla="*/ 4 w 22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0">
                  <a:moveTo>
                    <a:pt x="4" y="20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22" y="0"/>
                  </a:lnTo>
                  <a:lnTo>
                    <a:pt x="22" y="8"/>
                  </a:lnTo>
                  <a:lnTo>
                    <a:pt x="4" y="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08" name="Rectangle 74"/>
            <p:cNvSpPr>
              <a:spLocks noChangeArrowheads="1"/>
            </p:cNvSpPr>
            <p:nvPr/>
          </p:nvSpPr>
          <p:spPr bwMode="gray">
            <a:xfrm>
              <a:off x="5230813" y="5073281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09" name="Rectangle 75"/>
            <p:cNvSpPr>
              <a:spLocks noChangeArrowheads="1"/>
            </p:cNvSpPr>
            <p:nvPr/>
          </p:nvSpPr>
          <p:spPr bwMode="gray">
            <a:xfrm>
              <a:off x="5287963" y="5073281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10" name="Rectangle 76"/>
            <p:cNvSpPr>
              <a:spLocks noChangeArrowheads="1"/>
            </p:cNvSpPr>
            <p:nvPr/>
          </p:nvSpPr>
          <p:spPr bwMode="gray">
            <a:xfrm>
              <a:off x="5346700" y="5073281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11" name="Rectangle 77"/>
            <p:cNvSpPr>
              <a:spLocks noChangeArrowheads="1"/>
            </p:cNvSpPr>
            <p:nvPr/>
          </p:nvSpPr>
          <p:spPr bwMode="gray">
            <a:xfrm>
              <a:off x="5403850" y="5073281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12" name="Rectangle 78"/>
            <p:cNvSpPr>
              <a:spLocks noChangeArrowheads="1"/>
            </p:cNvSpPr>
            <p:nvPr/>
          </p:nvSpPr>
          <p:spPr bwMode="gray">
            <a:xfrm>
              <a:off x="5461000" y="5073281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13" name="Rectangle 79"/>
            <p:cNvSpPr>
              <a:spLocks noChangeArrowheads="1"/>
            </p:cNvSpPr>
            <p:nvPr/>
          </p:nvSpPr>
          <p:spPr bwMode="gray">
            <a:xfrm>
              <a:off x="5518150" y="5073281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14" name="Freeform 80"/>
            <p:cNvSpPr>
              <a:spLocks/>
            </p:cNvSpPr>
            <p:nvPr/>
          </p:nvSpPr>
          <p:spPr bwMode="gray">
            <a:xfrm>
              <a:off x="5575300" y="5073281"/>
              <a:ext cx="31750" cy="31750"/>
            </a:xfrm>
            <a:custGeom>
              <a:avLst/>
              <a:gdLst>
                <a:gd name="T0" fmla="*/ 20 w 20"/>
                <a:gd name="T1" fmla="*/ 20 h 20"/>
                <a:gd name="T2" fmla="*/ 0 w 20"/>
                <a:gd name="T3" fmla="*/ 20 h 20"/>
                <a:gd name="T4" fmla="*/ 0 w 20"/>
                <a:gd name="T5" fmla="*/ 0 h 20"/>
                <a:gd name="T6" fmla="*/ 13 w 20"/>
                <a:gd name="T7" fmla="*/ 0 h 20"/>
                <a:gd name="T8" fmla="*/ 10 w 20"/>
                <a:gd name="T9" fmla="*/ 4 h 20"/>
                <a:gd name="T10" fmla="*/ 20 w 20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0">
                  <a:moveTo>
                    <a:pt x="20" y="20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13" y="0"/>
                  </a:lnTo>
                  <a:lnTo>
                    <a:pt x="10" y="4"/>
                  </a:lnTo>
                  <a:lnTo>
                    <a:pt x="20" y="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15" name="Rectangle 81"/>
            <p:cNvSpPr>
              <a:spLocks noChangeArrowheads="1"/>
            </p:cNvSpPr>
            <p:nvPr/>
          </p:nvSpPr>
          <p:spPr bwMode="gray">
            <a:xfrm>
              <a:off x="5230813" y="5132018"/>
              <a:ext cx="31750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16" name="Rectangle 82"/>
            <p:cNvSpPr>
              <a:spLocks noChangeArrowheads="1"/>
            </p:cNvSpPr>
            <p:nvPr/>
          </p:nvSpPr>
          <p:spPr bwMode="gray">
            <a:xfrm>
              <a:off x="5287963" y="5132018"/>
              <a:ext cx="31750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17" name="Rectangle 83"/>
            <p:cNvSpPr>
              <a:spLocks noChangeArrowheads="1"/>
            </p:cNvSpPr>
            <p:nvPr/>
          </p:nvSpPr>
          <p:spPr bwMode="gray">
            <a:xfrm>
              <a:off x="5346700" y="5132018"/>
              <a:ext cx="33338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18" name="Rectangle 84"/>
            <p:cNvSpPr>
              <a:spLocks noChangeArrowheads="1"/>
            </p:cNvSpPr>
            <p:nvPr/>
          </p:nvSpPr>
          <p:spPr bwMode="gray">
            <a:xfrm>
              <a:off x="5403850" y="5132018"/>
              <a:ext cx="33338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19" name="Rectangle 85"/>
            <p:cNvSpPr>
              <a:spLocks noChangeArrowheads="1"/>
            </p:cNvSpPr>
            <p:nvPr/>
          </p:nvSpPr>
          <p:spPr bwMode="gray">
            <a:xfrm>
              <a:off x="5461000" y="5132018"/>
              <a:ext cx="33338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20" name="Rectangle 86"/>
            <p:cNvSpPr>
              <a:spLocks noChangeArrowheads="1"/>
            </p:cNvSpPr>
            <p:nvPr/>
          </p:nvSpPr>
          <p:spPr bwMode="gray">
            <a:xfrm>
              <a:off x="5518150" y="5132018"/>
              <a:ext cx="33338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21" name="Rectangle 87"/>
            <p:cNvSpPr>
              <a:spLocks noChangeArrowheads="1"/>
            </p:cNvSpPr>
            <p:nvPr/>
          </p:nvSpPr>
          <p:spPr bwMode="gray">
            <a:xfrm>
              <a:off x="5575300" y="5132018"/>
              <a:ext cx="34925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22" name="Freeform 88"/>
            <p:cNvSpPr>
              <a:spLocks/>
            </p:cNvSpPr>
            <p:nvPr/>
          </p:nvSpPr>
          <p:spPr bwMode="gray">
            <a:xfrm>
              <a:off x="5632450" y="5147893"/>
              <a:ext cx="11113" cy="14288"/>
            </a:xfrm>
            <a:custGeom>
              <a:avLst/>
              <a:gdLst>
                <a:gd name="T0" fmla="*/ 7 w 7"/>
                <a:gd name="T1" fmla="*/ 9 h 9"/>
                <a:gd name="T2" fmla="*/ 0 w 7"/>
                <a:gd name="T3" fmla="*/ 9 h 9"/>
                <a:gd name="T4" fmla="*/ 0 w 7"/>
                <a:gd name="T5" fmla="*/ 0 h 9"/>
                <a:gd name="T6" fmla="*/ 7 w 7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7" y="9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7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23" name="Rectangle 89"/>
            <p:cNvSpPr>
              <a:spLocks noChangeArrowheads="1"/>
            </p:cNvSpPr>
            <p:nvPr/>
          </p:nvSpPr>
          <p:spPr bwMode="gray">
            <a:xfrm>
              <a:off x="5230813" y="5189168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24" name="Rectangle 90"/>
            <p:cNvSpPr>
              <a:spLocks noChangeArrowheads="1"/>
            </p:cNvSpPr>
            <p:nvPr/>
          </p:nvSpPr>
          <p:spPr bwMode="gray">
            <a:xfrm>
              <a:off x="5287963" y="5189168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25" name="Rectangle 91"/>
            <p:cNvSpPr>
              <a:spLocks noChangeArrowheads="1"/>
            </p:cNvSpPr>
            <p:nvPr/>
          </p:nvSpPr>
          <p:spPr bwMode="gray">
            <a:xfrm>
              <a:off x="5346700" y="5189168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26" name="Rectangle 92"/>
            <p:cNvSpPr>
              <a:spLocks noChangeArrowheads="1"/>
            </p:cNvSpPr>
            <p:nvPr/>
          </p:nvSpPr>
          <p:spPr bwMode="gray">
            <a:xfrm>
              <a:off x="5403850" y="5189168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27" name="Rectangle 93"/>
            <p:cNvSpPr>
              <a:spLocks noChangeArrowheads="1"/>
            </p:cNvSpPr>
            <p:nvPr/>
          </p:nvSpPr>
          <p:spPr bwMode="gray">
            <a:xfrm>
              <a:off x="5461000" y="5189168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28" name="Rectangle 94"/>
            <p:cNvSpPr>
              <a:spLocks noChangeArrowheads="1"/>
            </p:cNvSpPr>
            <p:nvPr/>
          </p:nvSpPr>
          <p:spPr bwMode="gray">
            <a:xfrm>
              <a:off x="5518150" y="5189168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29" name="Rectangle 95"/>
            <p:cNvSpPr>
              <a:spLocks noChangeArrowheads="1"/>
            </p:cNvSpPr>
            <p:nvPr/>
          </p:nvSpPr>
          <p:spPr bwMode="gray">
            <a:xfrm>
              <a:off x="5575300" y="5189168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30" name="Rectangle 96"/>
            <p:cNvSpPr>
              <a:spLocks noChangeArrowheads="1"/>
            </p:cNvSpPr>
            <p:nvPr/>
          </p:nvSpPr>
          <p:spPr bwMode="gray">
            <a:xfrm>
              <a:off x="5632450" y="5189168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31" name="Rectangle 97"/>
            <p:cNvSpPr>
              <a:spLocks noChangeArrowheads="1"/>
            </p:cNvSpPr>
            <p:nvPr/>
          </p:nvSpPr>
          <p:spPr bwMode="gray">
            <a:xfrm>
              <a:off x="5230813" y="5246318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32" name="Rectangle 98"/>
            <p:cNvSpPr>
              <a:spLocks noChangeArrowheads="1"/>
            </p:cNvSpPr>
            <p:nvPr/>
          </p:nvSpPr>
          <p:spPr bwMode="gray">
            <a:xfrm>
              <a:off x="5287963" y="5246318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33" name="Rectangle 99"/>
            <p:cNvSpPr>
              <a:spLocks noChangeArrowheads="1"/>
            </p:cNvSpPr>
            <p:nvPr/>
          </p:nvSpPr>
          <p:spPr bwMode="gray">
            <a:xfrm>
              <a:off x="5346700" y="5246318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34" name="Rectangle 100"/>
            <p:cNvSpPr>
              <a:spLocks noChangeArrowheads="1"/>
            </p:cNvSpPr>
            <p:nvPr/>
          </p:nvSpPr>
          <p:spPr bwMode="gray">
            <a:xfrm>
              <a:off x="5403850" y="5246318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35" name="Rectangle 101"/>
            <p:cNvSpPr>
              <a:spLocks noChangeArrowheads="1"/>
            </p:cNvSpPr>
            <p:nvPr/>
          </p:nvSpPr>
          <p:spPr bwMode="gray">
            <a:xfrm>
              <a:off x="5461000" y="5246318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36" name="Rectangle 102"/>
            <p:cNvSpPr>
              <a:spLocks noChangeArrowheads="1"/>
            </p:cNvSpPr>
            <p:nvPr/>
          </p:nvSpPr>
          <p:spPr bwMode="gray">
            <a:xfrm>
              <a:off x="5518150" y="5246318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37" name="Rectangle 103"/>
            <p:cNvSpPr>
              <a:spLocks noChangeArrowheads="1"/>
            </p:cNvSpPr>
            <p:nvPr/>
          </p:nvSpPr>
          <p:spPr bwMode="gray">
            <a:xfrm>
              <a:off x="5575300" y="5246318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38" name="Rectangle 104"/>
            <p:cNvSpPr>
              <a:spLocks noChangeArrowheads="1"/>
            </p:cNvSpPr>
            <p:nvPr/>
          </p:nvSpPr>
          <p:spPr bwMode="gray">
            <a:xfrm>
              <a:off x="5632450" y="5246318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39" name="Rectangle 105"/>
            <p:cNvSpPr>
              <a:spLocks noChangeArrowheads="1"/>
            </p:cNvSpPr>
            <p:nvPr/>
          </p:nvSpPr>
          <p:spPr bwMode="gray">
            <a:xfrm>
              <a:off x="5230813" y="5303468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40" name="Rectangle 106"/>
            <p:cNvSpPr>
              <a:spLocks noChangeArrowheads="1"/>
            </p:cNvSpPr>
            <p:nvPr/>
          </p:nvSpPr>
          <p:spPr bwMode="gray">
            <a:xfrm>
              <a:off x="5287963" y="5303468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41" name="Rectangle 107"/>
            <p:cNvSpPr>
              <a:spLocks noChangeArrowheads="1"/>
            </p:cNvSpPr>
            <p:nvPr/>
          </p:nvSpPr>
          <p:spPr bwMode="gray">
            <a:xfrm>
              <a:off x="5346700" y="5303468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42" name="Rectangle 108"/>
            <p:cNvSpPr>
              <a:spLocks noChangeArrowheads="1"/>
            </p:cNvSpPr>
            <p:nvPr/>
          </p:nvSpPr>
          <p:spPr bwMode="gray">
            <a:xfrm>
              <a:off x="5403850" y="5303468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43" name="Rectangle 109"/>
            <p:cNvSpPr>
              <a:spLocks noChangeArrowheads="1"/>
            </p:cNvSpPr>
            <p:nvPr/>
          </p:nvSpPr>
          <p:spPr bwMode="gray">
            <a:xfrm>
              <a:off x="5461000" y="5303468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44" name="Rectangle 110"/>
            <p:cNvSpPr>
              <a:spLocks noChangeArrowheads="1"/>
            </p:cNvSpPr>
            <p:nvPr/>
          </p:nvSpPr>
          <p:spPr bwMode="gray">
            <a:xfrm>
              <a:off x="5518150" y="5303468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45" name="Rectangle 111"/>
            <p:cNvSpPr>
              <a:spLocks noChangeArrowheads="1"/>
            </p:cNvSpPr>
            <p:nvPr/>
          </p:nvSpPr>
          <p:spPr bwMode="gray">
            <a:xfrm>
              <a:off x="5575300" y="5303468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46" name="Rectangle 112"/>
            <p:cNvSpPr>
              <a:spLocks noChangeArrowheads="1"/>
            </p:cNvSpPr>
            <p:nvPr/>
          </p:nvSpPr>
          <p:spPr bwMode="gray">
            <a:xfrm>
              <a:off x="5632450" y="5303468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47" name="Rectangle 113"/>
            <p:cNvSpPr>
              <a:spLocks noChangeArrowheads="1"/>
            </p:cNvSpPr>
            <p:nvPr/>
          </p:nvSpPr>
          <p:spPr bwMode="gray">
            <a:xfrm>
              <a:off x="5230813" y="5362206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48" name="Rectangle 114"/>
            <p:cNvSpPr>
              <a:spLocks noChangeArrowheads="1"/>
            </p:cNvSpPr>
            <p:nvPr/>
          </p:nvSpPr>
          <p:spPr bwMode="gray">
            <a:xfrm>
              <a:off x="5287963" y="5362206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49" name="Rectangle 115"/>
            <p:cNvSpPr>
              <a:spLocks noChangeArrowheads="1"/>
            </p:cNvSpPr>
            <p:nvPr/>
          </p:nvSpPr>
          <p:spPr bwMode="gray">
            <a:xfrm>
              <a:off x="5346700" y="5362206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50" name="Rectangle 116"/>
            <p:cNvSpPr>
              <a:spLocks noChangeArrowheads="1"/>
            </p:cNvSpPr>
            <p:nvPr/>
          </p:nvSpPr>
          <p:spPr bwMode="gray">
            <a:xfrm>
              <a:off x="5403850" y="5362206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51" name="Rectangle 117"/>
            <p:cNvSpPr>
              <a:spLocks noChangeArrowheads="1"/>
            </p:cNvSpPr>
            <p:nvPr/>
          </p:nvSpPr>
          <p:spPr bwMode="gray">
            <a:xfrm>
              <a:off x="5461000" y="5362206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52" name="Rectangle 118"/>
            <p:cNvSpPr>
              <a:spLocks noChangeArrowheads="1"/>
            </p:cNvSpPr>
            <p:nvPr/>
          </p:nvSpPr>
          <p:spPr bwMode="gray">
            <a:xfrm>
              <a:off x="5518150" y="5362206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53" name="Rectangle 119"/>
            <p:cNvSpPr>
              <a:spLocks noChangeArrowheads="1"/>
            </p:cNvSpPr>
            <p:nvPr/>
          </p:nvSpPr>
          <p:spPr bwMode="gray">
            <a:xfrm>
              <a:off x="5575300" y="5362206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54" name="Rectangle 120"/>
            <p:cNvSpPr>
              <a:spLocks noChangeArrowheads="1"/>
            </p:cNvSpPr>
            <p:nvPr/>
          </p:nvSpPr>
          <p:spPr bwMode="gray">
            <a:xfrm>
              <a:off x="5632450" y="5362206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55" name="Rectangle 121"/>
            <p:cNvSpPr>
              <a:spLocks noChangeArrowheads="1"/>
            </p:cNvSpPr>
            <p:nvPr/>
          </p:nvSpPr>
          <p:spPr bwMode="gray">
            <a:xfrm>
              <a:off x="5230813" y="5419356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56" name="Rectangle 122"/>
            <p:cNvSpPr>
              <a:spLocks noChangeArrowheads="1"/>
            </p:cNvSpPr>
            <p:nvPr/>
          </p:nvSpPr>
          <p:spPr bwMode="gray">
            <a:xfrm>
              <a:off x="5287963" y="5419356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57" name="Rectangle 123"/>
            <p:cNvSpPr>
              <a:spLocks noChangeArrowheads="1"/>
            </p:cNvSpPr>
            <p:nvPr/>
          </p:nvSpPr>
          <p:spPr bwMode="gray">
            <a:xfrm>
              <a:off x="5346700" y="5419356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58" name="Rectangle 124"/>
            <p:cNvSpPr>
              <a:spLocks noChangeArrowheads="1"/>
            </p:cNvSpPr>
            <p:nvPr/>
          </p:nvSpPr>
          <p:spPr bwMode="gray">
            <a:xfrm>
              <a:off x="5403850" y="5419356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59" name="Rectangle 125"/>
            <p:cNvSpPr>
              <a:spLocks noChangeArrowheads="1"/>
            </p:cNvSpPr>
            <p:nvPr/>
          </p:nvSpPr>
          <p:spPr bwMode="gray">
            <a:xfrm>
              <a:off x="5461000" y="5419356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60" name="Rectangle 126"/>
            <p:cNvSpPr>
              <a:spLocks noChangeArrowheads="1"/>
            </p:cNvSpPr>
            <p:nvPr/>
          </p:nvSpPr>
          <p:spPr bwMode="gray">
            <a:xfrm>
              <a:off x="5518150" y="5419356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61" name="Rectangle 127"/>
            <p:cNvSpPr>
              <a:spLocks noChangeArrowheads="1"/>
            </p:cNvSpPr>
            <p:nvPr/>
          </p:nvSpPr>
          <p:spPr bwMode="gray">
            <a:xfrm>
              <a:off x="5575300" y="5419356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62" name="Rectangle 128"/>
            <p:cNvSpPr>
              <a:spLocks noChangeArrowheads="1"/>
            </p:cNvSpPr>
            <p:nvPr/>
          </p:nvSpPr>
          <p:spPr bwMode="gray">
            <a:xfrm>
              <a:off x="5632450" y="5419356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63" name="Rectangle 129"/>
            <p:cNvSpPr>
              <a:spLocks noChangeArrowheads="1"/>
            </p:cNvSpPr>
            <p:nvPr/>
          </p:nvSpPr>
          <p:spPr bwMode="gray">
            <a:xfrm>
              <a:off x="5230813" y="5476506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64" name="Rectangle 130"/>
            <p:cNvSpPr>
              <a:spLocks noChangeArrowheads="1"/>
            </p:cNvSpPr>
            <p:nvPr/>
          </p:nvSpPr>
          <p:spPr bwMode="gray">
            <a:xfrm>
              <a:off x="5287963" y="5476506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65" name="Rectangle 131"/>
            <p:cNvSpPr>
              <a:spLocks noChangeArrowheads="1"/>
            </p:cNvSpPr>
            <p:nvPr/>
          </p:nvSpPr>
          <p:spPr bwMode="gray">
            <a:xfrm>
              <a:off x="5346700" y="5476506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66" name="Rectangle 132"/>
            <p:cNvSpPr>
              <a:spLocks noChangeArrowheads="1"/>
            </p:cNvSpPr>
            <p:nvPr/>
          </p:nvSpPr>
          <p:spPr bwMode="gray">
            <a:xfrm>
              <a:off x="5403850" y="5476506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67" name="Rectangle 133"/>
            <p:cNvSpPr>
              <a:spLocks noChangeArrowheads="1"/>
            </p:cNvSpPr>
            <p:nvPr/>
          </p:nvSpPr>
          <p:spPr bwMode="gray">
            <a:xfrm>
              <a:off x="5461000" y="5476506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68" name="Rectangle 134"/>
            <p:cNvSpPr>
              <a:spLocks noChangeArrowheads="1"/>
            </p:cNvSpPr>
            <p:nvPr/>
          </p:nvSpPr>
          <p:spPr bwMode="gray">
            <a:xfrm>
              <a:off x="5518150" y="5476506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69" name="Rectangle 135"/>
            <p:cNvSpPr>
              <a:spLocks noChangeArrowheads="1"/>
            </p:cNvSpPr>
            <p:nvPr/>
          </p:nvSpPr>
          <p:spPr bwMode="gray">
            <a:xfrm>
              <a:off x="5575300" y="5476506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70" name="Rectangle 136"/>
            <p:cNvSpPr>
              <a:spLocks noChangeArrowheads="1"/>
            </p:cNvSpPr>
            <p:nvPr/>
          </p:nvSpPr>
          <p:spPr bwMode="gray">
            <a:xfrm>
              <a:off x="5632450" y="5476506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71" name="Rectangle 137"/>
            <p:cNvSpPr>
              <a:spLocks noChangeArrowheads="1"/>
            </p:cNvSpPr>
            <p:nvPr/>
          </p:nvSpPr>
          <p:spPr bwMode="gray">
            <a:xfrm>
              <a:off x="5230813" y="5535243"/>
              <a:ext cx="31750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72" name="Rectangle 138"/>
            <p:cNvSpPr>
              <a:spLocks noChangeArrowheads="1"/>
            </p:cNvSpPr>
            <p:nvPr/>
          </p:nvSpPr>
          <p:spPr bwMode="gray">
            <a:xfrm>
              <a:off x="5287963" y="5535243"/>
              <a:ext cx="31750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73" name="Rectangle 139"/>
            <p:cNvSpPr>
              <a:spLocks noChangeArrowheads="1"/>
            </p:cNvSpPr>
            <p:nvPr/>
          </p:nvSpPr>
          <p:spPr bwMode="gray">
            <a:xfrm>
              <a:off x="5346700" y="5535243"/>
              <a:ext cx="33338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74" name="Rectangle 140"/>
            <p:cNvSpPr>
              <a:spLocks noChangeArrowheads="1"/>
            </p:cNvSpPr>
            <p:nvPr/>
          </p:nvSpPr>
          <p:spPr bwMode="gray">
            <a:xfrm>
              <a:off x="5403850" y="5535243"/>
              <a:ext cx="33338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75" name="Rectangle 141"/>
            <p:cNvSpPr>
              <a:spLocks noChangeArrowheads="1"/>
            </p:cNvSpPr>
            <p:nvPr/>
          </p:nvSpPr>
          <p:spPr bwMode="gray">
            <a:xfrm>
              <a:off x="5461000" y="5535243"/>
              <a:ext cx="33338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76" name="Rectangle 142"/>
            <p:cNvSpPr>
              <a:spLocks noChangeArrowheads="1"/>
            </p:cNvSpPr>
            <p:nvPr/>
          </p:nvSpPr>
          <p:spPr bwMode="gray">
            <a:xfrm>
              <a:off x="5518150" y="5535243"/>
              <a:ext cx="33338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77" name="Rectangle 143"/>
            <p:cNvSpPr>
              <a:spLocks noChangeArrowheads="1"/>
            </p:cNvSpPr>
            <p:nvPr/>
          </p:nvSpPr>
          <p:spPr bwMode="gray">
            <a:xfrm>
              <a:off x="5575300" y="5535243"/>
              <a:ext cx="34925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78" name="Rectangle 144"/>
            <p:cNvSpPr>
              <a:spLocks noChangeArrowheads="1"/>
            </p:cNvSpPr>
            <p:nvPr/>
          </p:nvSpPr>
          <p:spPr bwMode="gray">
            <a:xfrm>
              <a:off x="5632450" y="5535243"/>
              <a:ext cx="34925" cy="301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79" name="Rectangle 145"/>
            <p:cNvSpPr>
              <a:spLocks noChangeArrowheads="1"/>
            </p:cNvSpPr>
            <p:nvPr/>
          </p:nvSpPr>
          <p:spPr bwMode="gray">
            <a:xfrm>
              <a:off x="5230813" y="5592393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80" name="Rectangle 146"/>
            <p:cNvSpPr>
              <a:spLocks noChangeArrowheads="1"/>
            </p:cNvSpPr>
            <p:nvPr/>
          </p:nvSpPr>
          <p:spPr bwMode="gray">
            <a:xfrm>
              <a:off x="5287963" y="5592393"/>
              <a:ext cx="31750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81" name="Rectangle 147"/>
            <p:cNvSpPr>
              <a:spLocks noChangeArrowheads="1"/>
            </p:cNvSpPr>
            <p:nvPr/>
          </p:nvSpPr>
          <p:spPr bwMode="gray">
            <a:xfrm>
              <a:off x="5346700" y="5592393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82" name="Rectangle 148"/>
            <p:cNvSpPr>
              <a:spLocks noChangeArrowheads="1"/>
            </p:cNvSpPr>
            <p:nvPr/>
          </p:nvSpPr>
          <p:spPr bwMode="gray">
            <a:xfrm>
              <a:off x="5403850" y="5592393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83" name="Rectangle 149"/>
            <p:cNvSpPr>
              <a:spLocks noChangeArrowheads="1"/>
            </p:cNvSpPr>
            <p:nvPr/>
          </p:nvSpPr>
          <p:spPr bwMode="gray">
            <a:xfrm>
              <a:off x="5461000" y="5592393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84" name="Rectangle 150"/>
            <p:cNvSpPr>
              <a:spLocks noChangeArrowheads="1"/>
            </p:cNvSpPr>
            <p:nvPr/>
          </p:nvSpPr>
          <p:spPr bwMode="gray">
            <a:xfrm>
              <a:off x="5518150" y="5592393"/>
              <a:ext cx="33338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85" name="Rectangle 151"/>
            <p:cNvSpPr>
              <a:spLocks noChangeArrowheads="1"/>
            </p:cNvSpPr>
            <p:nvPr/>
          </p:nvSpPr>
          <p:spPr bwMode="gray">
            <a:xfrm>
              <a:off x="5575300" y="5592393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86" name="Rectangle 152"/>
            <p:cNvSpPr>
              <a:spLocks noChangeArrowheads="1"/>
            </p:cNvSpPr>
            <p:nvPr/>
          </p:nvSpPr>
          <p:spPr bwMode="gray">
            <a:xfrm>
              <a:off x="5632450" y="5592393"/>
              <a:ext cx="34925" cy="317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87" name="Rectangle 153"/>
            <p:cNvSpPr>
              <a:spLocks noChangeArrowheads="1"/>
            </p:cNvSpPr>
            <p:nvPr/>
          </p:nvSpPr>
          <p:spPr bwMode="gray">
            <a:xfrm>
              <a:off x="5192713" y="4433518"/>
              <a:ext cx="571500" cy="28575"/>
            </a:xfrm>
            <a:prstGeom prst="rect">
              <a:avLst/>
            </a:prstGeom>
            <a:solidFill>
              <a:srgbClr val="0F82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88" name="Rectangle 154"/>
            <p:cNvSpPr>
              <a:spLocks noChangeArrowheads="1"/>
            </p:cNvSpPr>
            <p:nvPr/>
          </p:nvSpPr>
          <p:spPr bwMode="gray">
            <a:xfrm>
              <a:off x="6494463" y="3928693"/>
              <a:ext cx="3175" cy="109220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89" name="Rectangle 155"/>
            <p:cNvSpPr>
              <a:spLocks noChangeArrowheads="1"/>
            </p:cNvSpPr>
            <p:nvPr/>
          </p:nvSpPr>
          <p:spPr bwMode="gray">
            <a:xfrm>
              <a:off x="7180263" y="3928693"/>
              <a:ext cx="3175" cy="19097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90" name="Rectangle 156"/>
            <p:cNvSpPr>
              <a:spLocks noChangeArrowheads="1"/>
            </p:cNvSpPr>
            <p:nvPr/>
          </p:nvSpPr>
          <p:spPr bwMode="gray">
            <a:xfrm>
              <a:off x="6288088" y="4087443"/>
              <a:ext cx="404813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91" name="Rectangle 158"/>
            <p:cNvSpPr>
              <a:spLocks noChangeArrowheads="1"/>
            </p:cNvSpPr>
            <p:nvPr/>
          </p:nvSpPr>
          <p:spPr bwMode="gray">
            <a:xfrm>
              <a:off x="6288088" y="4244606"/>
              <a:ext cx="404813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92" name="Rectangle 160"/>
            <p:cNvSpPr>
              <a:spLocks noChangeArrowheads="1"/>
            </p:cNvSpPr>
            <p:nvPr/>
          </p:nvSpPr>
          <p:spPr bwMode="gray">
            <a:xfrm>
              <a:off x="6288088" y="4560518"/>
              <a:ext cx="404813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93" name="Rectangle 162"/>
            <p:cNvSpPr>
              <a:spLocks noChangeArrowheads="1"/>
            </p:cNvSpPr>
            <p:nvPr/>
          </p:nvSpPr>
          <p:spPr bwMode="gray">
            <a:xfrm>
              <a:off x="6288088" y="4720856"/>
              <a:ext cx="404813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94" name="Rectangle 164"/>
            <p:cNvSpPr>
              <a:spLocks noChangeArrowheads="1"/>
            </p:cNvSpPr>
            <p:nvPr/>
          </p:nvSpPr>
          <p:spPr bwMode="gray">
            <a:xfrm>
              <a:off x="6288088" y="4878018"/>
              <a:ext cx="404813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95" name="Freeform 166"/>
            <p:cNvSpPr>
              <a:spLocks/>
            </p:cNvSpPr>
            <p:nvPr/>
          </p:nvSpPr>
          <p:spPr bwMode="gray">
            <a:xfrm>
              <a:off x="6518275" y="5035181"/>
              <a:ext cx="174625" cy="17463"/>
            </a:xfrm>
            <a:custGeom>
              <a:avLst/>
              <a:gdLst>
                <a:gd name="T0" fmla="*/ 110 w 110"/>
                <a:gd name="T1" fmla="*/ 11 h 11"/>
                <a:gd name="T2" fmla="*/ 16 w 110"/>
                <a:gd name="T3" fmla="*/ 11 h 11"/>
                <a:gd name="T4" fmla="*/ 0 w 110"/>
                <a:gd name="T5" fmla="*/ 0 h 11"/>
                <a:gd name="T6" fmla="*/ 110 w 110"/>
                <a:gd name="T7" fmla="*/ 0 h 11"/>
                <a:gd name="T8" fmla="*/ 110 w 110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">
                  <a:moveTo>
                    <a:pt x="110" y="11"/>
                  </a:moveTo>
                  <a:lnTo>
                    <a:pt x="16" y="11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10" y="1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96" name="Rectangle 168"/>
            <p:cNvSpPr>
              <a:spLocks noChangeArrowheads="1"/>
            </p:cNvSpPr>
            <p:nvPr/>
          </p:nvSpPr>
          <p:spPr bwMode="gray">
            <a:xfrm>
              <a:off x="6510338" y="5193931"/>
              <a:ext cx="182563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97" name="Rectangle 170"/>
            <p:cNvSpPr>
              <a:spLocks noChangeArrowheads="1"/>
            </p:cNvSpPr>
            <p:nvPr/>
          </p:nvSpPr>
          <p:spPr bwMode="gray">
            <a:xfrm>
              <a:off x="6510338" y="5668593"/>
              <a:ext cx="182563" cy="142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98" name="Rectangle 172"/>
            <p:cNvSpPr>
              <a:spLocks noChangeArrowheads="1"/>
            </p:cNvSpPr>
            <p:nvPr/>
          </p:nvSpPr>
          <p:spPr bwMode="gray">
            <a:xfrm>
              <a:off x="6981825" y="4560518"/>
              <a:ext cx="407988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199" name="Rectangle 174"/>
            <p:cNvSpPr>
              <a:spLocks noChangeArrowheads="1"/>
            </p:cNvSpPr>
            <p:nvPr/>
          </p:nvSpPr>
          <p:spPr bwMode="gray">
            <a:xfrm>
              <a:off x="6981825" y="5035181"/>
              <a:ext cx="407988" cy="174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00" name="Rectangle 176"/>
            <p:cNvSpPr>
              <a:spLocks noChangeArrowheads="1"/>
            </p:cNvSpPr>
            <p:nvPr/>
          </p:nvSpPr>
          <p:spPr bwMode="gray">
            <a:xfrm>
              <a:off x="6981825" y="5193931"/>
              <a:ext cx="407988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01" name="Rectangle 178"/>
            <p:cNvSpPr>
              <a:spLocks noChangeArrowheads="1"/>
            </p:cNvSpPr>
            <p:nvPr/>
          </p:nvSpPr>
          <p:spPr bwMode="gray">
            <a:xfrm>
              <a:off x="6981825" y="5351093"/>
              <a:ext cx="407988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02" name="Rectangle 180"/>
            <p:cNvSpPr>
              <a:spLocks noChangeArrowheads="1"/>
            </p:cNvSpPr>
            <p:nvPr/>
          </p:nvSpPr>
          <p:spPr bwMode="gray">
            <a:xfrm>
              <a:off x="6981825" y="5511431"/>
              <a:ext cx="407988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03" name="Rectangle 182"/>
            <p:cNvSpPr>
              <a:spLocks noChangeArrowheads="1"/>
            </p:cNvSpPr>
            <p:nvPr/>
          </p:nvSpPr>
          <p:spPr bwMode="gray">
            <a:xfrm>
              <a:off x="6981825" y="5668593"/>
              <a:ext cx="407988" cy="142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04" name="Rectangle 185"/>
            <p:cNvSpPr>
              <a:spLocks noChangeArrowheads="1"/>
            </p:cNvSpPr>
            <p:nvPr/>
          </p:nvSpPr>
          <p:spPr bwMode="gray">
            <a:xfrm>
              <a:off x="6981825" y="4244606"/>
              <a:ext cx="407988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05" name="Rectangle 187"/>
            <p:cNvSpPr>
              <a:spLocks noChangeArrowheads="1"/>
            </p:cNvSpPr>
            <p:nvPr/>
          </p:nvSpPr>
          <p:spPr bwMode="gray">
            <a:xfrm>
              <a:off x="6981825" y="4404943"/>
              <a:ext cx="407988" cy="142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06" name="Rectangle 189"/>
            <p:cNvSpPr>
              <a:spLocks noChangeArrowheads="1"/>
            </p:cNvSpPr>
            <p:nvPr/>
          </p:nvSpPr>
          <p:spPr bwMode="gray">
            <a:xfrm>
              <a:off x="6507163" y="5351093"/>
              <a:ext cx="185738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07" name="Rectangle 191"/>
            <p:cNvSpPr>
              <a:spLocks noChangeArrowheads="1"/>
            </p:cNvSpPr>
            <p:nvPr/>
          </p:nvSpPr>
          <p:spPr bwMode="gray">
            <a:xfrm>
              <a:off x="6510338" y="5511431"/>
              <a:ext cx="182563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08" name="Rectangle 193"/>
            <p:cNvSpPr>
              <a:spLocks noChangeArrowheads="1"/>
            </p:cNvSpPr>
            <p:nvPr/>
          </p:nvSpPr>
          <p:spPr bwMode="gray">
            <a:xfrm>
              <a:off x="6981825" y="4720856"/>
              <a:ext cx="407988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09" name="Rectangle 195"/>
            <p:cNvSpPr>
              <a:spLocks noChangeArrowheads="1"/>
            </p:cNvSpPr>
            <p:nvPr/>
          </p:nvSpPr>
          <p:spPr bwMode="gray">
            <a:xfrm>
              <a:off x="6981825" y="4878018"/>
              <a:ext cx="407988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10" name="Rectangle 197"/>
            <p:cNvSpPr>
              <a:spLocks noChangeArrowheads="1"/>
            </p:cNvSpPr>
            <p:nvPr/>
          </p:nvSpPr>
          <p:spPr bwMode="gray">
            <a:xfrm>
              <a:off x="6288088" y="4404943"/>
              <a:ext cx="404813" cy="142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11" name="Rectangle 199"/>
            <p:cNvSpPr>
              <a:spLocks noChangeArrowheads="1"/>
            </p:cNvSpPr>
            <p:nvPr/>
          </p:nvSpPr>
          <p:spPr bwMode="gray">
            <a:xfrm>
              <a:off x="6981825" y="4087443"/>
              <a:ext cx="407988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12" name="Freeform 201"/>
            <p:cNvSpPr>
              <a:spLocks/>
            </p:cNvSpPr>
            <p:nvPr/>
          </p:nvSpPr>
          <p:spPr bwMode="gray">
            <a:xfrm>
              <a:off x="6288088" y="3928693"/>
              <a:ext cx="422275" cy="1909763"/>
            </a:xfrm>
            <a:custGeom>
              <a:avLst/>
              <a:gdLst>
                <a:gd name="T0" fmla="*/ 0 w 266"/>
                <a:gd name="T1" fmla="*/ 9 h 1203"/>
                <a:gd name="T2" fmla="*/ 255 w 266"/>
                <a:gd name="T3" fmla="*/ 9 h 1203"/>
                <a:gd name="T4" fmla="*/ 255 w 266"/>
                <a:gd name="T5" fmla="*/ 1203 h 1203"/>
                <a:gd name="T6" fmla="*/ 266 w 266"/>
                <a:gd name="T7" fmla="*/ 1203 h 1203"/>
                <a:gd name="T8" fmla="*/ 266 w 266"/>
                <a:gd name="T9" fmla="*/ 9 h 1203"/>
                <a:gd name="T10" fmla="*/ 266 w 266"/>
                <a:gd name="T11" fmla="*/ 0 h 1203"/>
                <a:gd name="T12" fmla="*/ 266 w 266"/>
                <a:gd name="T13" fmla="*/ 0 h 1203"/>
                <a:gd name="T14" fmla="*/ 0 w 266"/>
                <a:gd name="T15" fmla="*/ 0 h 1203"/>
                <a:gd name="T16" fmla="*/ 0 w 266"/>
                <a:gd name="T17" fmla="*/ 9 h 1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6" h="1203">
                  <a:moveTo>
                    <a:pt x="0" y="9"/>
                  </a:moveTo>
                  <a:lnTo>
                    <a:pt x="255" y="9"/>
                  </a:lnTo>
                  <a:lnTo>
                    <a:pt x="255" y="1203"/>
                  </a:lnTo>
                  <a:lnTo>
                    <a:pt x="266" y="1203"/>
                  </a:lnTo>
                  <a:lnTo>
                    <a:pt x="266" y="9"/>
                  </a:lnTo>
                  <a:lnTo>
                    <a:pt x="266" y="0"/>
                  </a:lnTo>
                  <a:lnTo>
                    <a:pt x="266" y="0"/>
                  </a:lnTo>
                  <a:lnTo>
                    <a:pt x="0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13" name="Freeform 203"/>
            <p:cNvSpPr>
              <a:spLocks/>
            </p:cNvSpPr>
            <p:nvPr/>
          </p:nvSpPr>
          <p:spPr bwMode="gray">
            <a:xfrm>
              <a:off x="6964363" y="3928693"/>
              <a:ext cx="425450" cy="1909763"/>
            </a:xfrm>
            <a:custGeom>
              <a:avLst/>
              <a:gdLst>
                <a:gd name="T0" fmla="*/ 268 w 268"/>
                <a:gd name="T1" fmla="*/ 0 h 1203"/>
                <a:gd name="T2" fmla="*/ 0 w 268"/>
                <a:gd name="T3" fmla="*/ 0 h 1203"/>
                <a:gd name="T4" fmla="*/ 0 w 268"/>
                <a:gd name="T5" fmla="*/ 0 h 1203"/>
                <a:gd name="T6" fmla="*/ 0 w 268"/>
                <a:gd name="T7" fmla="*/ 9 h 1203"/>
                <a:gd name="T8" fmla="*/ 0 w 268"/>
                <a:gd name="T9" fmla="*/ 1203 h 1203"/>
                <a:gd name="T10" fmla="*/ 11 w 268"/>
                <a:gd name="T11" fmla="*/ 1203 h 1203"/>
                <a:gd name="T12" fmla="*/ 11 w 268"/>
                <a:gd name="T13" fmla="*/ 9 h 1203"/>
                <a:gd name="T14" fmla="*/ 268 w 268"/>
                <a:gd name="T15" fmla="*/ 9 h 1203"/>
                <a:gd name="T16" fmla="*/ 268 w 268"/>
                <a:gd name="T17" fmla="*/ 0 h 1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8" h="1203">
                  <a:moveTo>
                    <a:pt x="268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03"/>
                  </a:lnTo>
                  <a:lnTo>
                    <a:pt x="11" y="1203"/>
                  </a:lnTo>
                  <a:lnTo>
                    <a:pt x="11" y="9"/>
                  </a:lnTo>
                  <a:lnTo>
                    <a:pt x="268" y="9"/>
                  </a:lnTo>
                  <a:lnTo>
                    <a:pt x="26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14" name="Freeform 205"/>
            <p:cNvSpPr>
              <a:spLocks noEditPoints="1"/>
            </p:cNvSpPr>
            <p:nvPr/>
          </p:nvSpPr>
          <p:spPr bwMode="gray">
            <a:xfrm>
              <a:off x="2922588" y="5387606"/>
              <a:ext cx="641350" cy="474663"/>
            </a:xfrm>
            <a:custGeom>
              <a:avLst/>
              <a:gdLst>
                <a:gd name="T0" fmla="*/ 404 w 404"/>
                <a:gd name="T1" fmla="*/ 165 h 299"/>
                <a:gd name="T2" fmla="*/ 358 w 404"/>
                <a:gd name="T3" fmla="*/ 51 h 299"/>
                <a:gd name="T4" fmla="*/ 138 w 404"/>
                <a:gd name="T5" fmla="*/ 51 h 299"/>
                <a:gd name="T6" fmla="*/ 138 w 404"/>
                <a:gd name="T7" fmla="*/ 0 h 299"/>
                <a:gd name="T8" fmla="*/ 100 w 404"/>
                <a:gd name="T9" fmla="*/ 0 h 299"/>
                <a:gd name="T10" fmla="*/ 100 w 404"/>
                <a:gd name="T11" fmla="*/ 51 h 299"/>
                <a:gd name="T12" fmla="*/ 46 w 404"/>
                <a:gd name="T13" fmla="*/ 51 h 299"/>
                <a:gd name="T14" fmla="*/ 0 w 404"/>
                <a:gd name="T15" fmla="*/ 165 h 299"/>
                <a:gd name="T16" fmla="*/ 46 w 404"/>
                <a:gd name="T17" fmla="*/ 165 h 299"/>
                <a:gd name="T18" fmla="*/ 46 w 404"/>
                <a:gd name="T19" fmla="*/ 299 h 299"/>
                <a:gd name="T20" fmla="*/ 238 w 404"/>
                <a:gd name="T21" fmla="*/ 297 h 299"/>
                <a:gd name="T22" fmla="*/ 238 w 404"/>
                <a:gd name="T23" fmla="*/ 218 h 299"/>
                <a:gd name="T24" fmla="*/ 322 w 404"/>
                <a:gd name="T25" fmla="*/ 218 h 299"/>
                <a:gd name="T26" fmla="*/ 322 w 404"/>
                <a:gd name="T27" fmla="*/ 297 h 299"/>
                <a:gd name="T28" fmla="*/ 356 w 404"/>
                <a:gd name="T29" fmla="*/ 297 h 299"/>
                <a:gd name="T30" fmla="*/ 355 w 404"/>
                <a:gd name="T31" fmla="*/ 165 h 299"/>
                <a:gd name="T32" fmla="*/ 404 w 404"/>
                <a:gd name="T33" fmla="*/ 165 h 299"/>
                <a:gd name="T34" fmla="*/ 110 w 404"/>
                <a:gd name="T35" fmla="*/ 214 h 299"/>
                <a:gd name="T36" fmla="*/ 110 w 404"/>
                <a:gd name="T37" fmla="*/ 163 h 299"/>
                <a:gd name="T38" fmla="*/ 200 w 404"/>
                <a:gd name="T39" fmla="*/ 163 h 299"/>
                <a:gd name="T40" fmla="*/ 200 w 404"/>
                <a:gd name="T41" fmla="*/ 213 h 299"/>
                <a:gd name="T42" fmla="*/ 110 w 404"/>
                <a:gd name="T43" fmla="*/ 214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4" h="299">
                  <a:moveTo>
                    <a:pt x="404" y="165"/>
                  </a:moveTo>
                  <a:lnTo>
                    <a:pt x="358" y="51"/>
                  </a:lnTo>
                  <a:lnTo>
                    <a:pt x="138" y="51"/>
                  </a:lnTo>
                  <a:lnTo>
                    <a:pt x="138" y="0"/>
                  </a:lnTo>
                  <a:lnTo>
                    <a:pt x="100" y="0"/>
                  </a:lnTo>
                  <a:lnTo>
                    <a:pt x="100" y="51"/>
                  </a:lnTo>
                  <a:lnTo>
                    <a:pt x="46" y="51"/>
                  </a:lnTo>
                  <a:lnTo>
                    <a:pt x="0" y="165"/>
                  </a:lnTo>
                  <a:lnTo>
                    <a:pt x="46" y="165"/>
                  </a:lnTo>
                  <a:lnTo>
                    <a:pt x="46" y="299"/>
                  </a:lnTo>
                  <a:lnTo>
                    <a:pt x="238" y="297"/>
                  </a:lnTo>
                  <a:lnTo>
                    <a:pt x="238" y="218"/>
                  </a:lnTo>
                  <a:lnTo>
                    <a:pt x="322" y="218"/>
                  </a:lnTo>
                  <a:lnTo>
                    <a:pt x="322" y="297"/>
                  </a:lnTo>
                  <a:lnTo>
                    <a:pt x="356" y="297"/>
                  </a:lnTo>
                  <a:lnTo>
                    <a:pt x="355" y="165"/>
                  </a:lnTo>
                  <a:lnTo>
                    <a:pt x="404" y="165"/>
                  </a:lnTo>
                  <a:close/>
                  <a:moveTo>
                    <a:pt x="110" y="214"/>
                  </a:moveTo>
                  <a:lnTo>
                    <a:pt x="110" y="163"/>
                  </a:lnTo>
                  <a:lnTo>
                    <a:pt x="200" y="163"/>
                  </a:lnTo>
                  <a:lnTo>
                    <a:pt x="200" y="213"/>
                  </a:lnTo>
                  <a:lnTo>
                    <a:pt x="110" y="214"/>
                  </a:lnTo>
                  <a:close/>
                </a:path>
              </a:pathLst>
            </a:custGeom>
            <a:solidFill>
              <a:srgbClr val="BECDD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15" name="Freeform 206"/>
            <p:cNvSpPr>
              <a:spLocks noEditPoints="1"/>
            </p:cNvSpPr>
            <p:nvPr/>
          </p:nvSpPr>
          <p:spPr bwMode="gray">
            <a:xfrm>
              <a:off x="2535238" y="4657356"/>
              <a:ext cx="496888" cy="1204913"/>
            </a:xfrm>
            <a:custGeom>
              <a:avLst/>
              <a:gdLst>
                <a:gd name="T0" fmla="*/ 311 w 313"/>
                <a:gd name="T1" fmla="*/ 0 h 759"/>
                <a:gd name="T2" fmla="*/ 0 w 313"/>
                <a:gd name="T3" fmla="*/ 0 h 759"/>
                <a:gd name="T4" fmla="*/ 2 w 313"/>
                <a:gd name="T5" fmla="*/ 759 h 759"/>
                <a:gd name="T6" fmla="*/ 273 w 313"/>
                <a:gd name="T7" fmla="*/ 757 h 759"/>
                <a:gd name="T8" fmla="*/ 273 w 313"/>
                <a:gd name="T9" fmla="*/ 642 h 759"/>
                <a:gd name="T10" fmla="*/ 244 w 313"/>
                <a:gd name="T11" fmla="*/ 642 h 759"/>
                <a:gd name="T12" fmla="*/ 219 w 313"/>
                <a:gd name="T13" fmla="*/ 642 h 759"/>
                <a:gd name="T14" fmla="*/ 229 w 313"/>
                <a:gd name="T15" fmla="*/ 618 h 759"/>
                <a:gd name="T16" fmla="*/ 275 w 313"/>
                <a:gd name="T17" fmla="*/ 506 h 759"/>
                <a:gd name="T18" fmla="*/ 278 w 313"/>
                <a:gd name="T19" fmla="*/ 496 h 759"/>
                <a:gd name="T20" fmla="*/ 290 w 313"/>
                <a:gd name="T21" fmla="*/ 496 h 759"/>
                <a:gd name="T22" fmla="*/ 313 w 313"/>
                <a:gd name="T23" fmla="*/ 496 h 759"/>
                <a:gd name="T24" fmla="*/ 311 w 313"/>
                <a:gd name="T25" fmla="*/ 0 h 759"/>
                <a:gd name="T26" fmla="*/ 73 w 313"/>
                <a:gd name="T27" fmla="*/ 688 h 759"/>
                <a:gd name="T28" fmla="*/ 46 w 313"/>
                <a:gd name="T29" fmla="*/ 688 h 759"/>
                <a:gd name="T30" fmla="*/ 46 w 313"/>
                <a:gd name="T31" fmla="*/ 79 h 759"/>
                <a:gd name="T32" fmla="*/ 73 w 313"/>
                <a:gd name="T33" fmla="*/ 79 h 759"/>
                <a:gd name="T34" fmla="*/ 73 w 313"/>
                <a:gd name="T35" fmla="*/ 688 h 759"/>
                <a:gd name="T36" fmla="*/ 137 w 313"/>
                <a:gd name="T37" fmla="*/ 688 h 759"/>
                <a:gd name="T38" fmla="*/ 110 w 313"/>
                <a:gd name="T39" fmla="*/ 688 h 759"/>
                <a:gd name="T40" fmla="*/ 110 w 313"/>
                <a:gd name="T41" fmla="*/ 79 h 759"/>
                <a:gd name="T42" fmla="*/ 137 w 313"/>
                <a:gd name="T43" fmla="*/ 79 h 759"/>
                <a:gd name="T44" fmla="*/ 137 w 313"/>
                <a:gd name="T45" fmla="*/ 688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3" h="759">
                  <a:moveTo>
                    <a:pt x="311" y="0"/>
                  </a:moveTo>
                  <a:lnTo>
                    <a:pt x="0" y="0"/>
                  </a:lnTo>
                  <a:lnTo>
                    <a:pt x="2" y="759"/>
                  </a:lnTo>
                  <a:lnTo>
                    <a:pt x="273" y="757"/>
                  </a:lnTo>
                  <a:lnTo>
                    <a:pt x="273" y="642"/>
                  </a:lnTo>
                  <a:lnTo>
                    <a:pt x="244" y="642"/>
                  </a:lnTo>
                  <a:lnTo>
                    <a:pt x="219" y="642"/>
                  </a:lnTo>
                  <a:lnTo>
                    <a:pt x="229" y="618"/>
                  </a:lnTo>
                  <a:lnTo>
                    <a:pt x="275" y="506"/>
                  </a:lnTo>
                  <a:lnTo>
                    <a:pt x="278" y="496"/>
                  </a:lnTo>
                  <a:lnTo>
                    <a:pt x="290" y="496"/>
                  </a:lnTo>
                  <a:lnTo>
                    <a:pt x="313" y="496"/>
                  </a:lnTo>
                  <a:lnTo>
                    <a:pt x="311" y="0"/>
                  </a:lnTo>
                  <a:close/>
                  <a:moveTo>
                    <a:pt x="73" y="688"/>
                  </a:moveTo>
                  <a:lnTo>
                    <a:pt x="46" y="688"/>
                  </a:lnTo>
                  <a:lnTo>
                    <a:pt x="46" y="79"/>
                  </a:lnTo>
                  <a:lnTo>
                    <a:pt x="73" y="79"/>
                  </a:lnTo>
                  <a:lnTo>
                    <a:pt x="73" y="688"/>
                  </a:lnTo>
                  <a:close/>
                  <a:moveTo>
                    <a:pt x="137" y="688"/>
                  </a:moveTo>
                  <a:lnTo>
                    <a:pt x="110" y="688"/>
                  </a:lnTo>
                  <a:lnTo>
                    <a:pt x="110" y="79"/>
                  </a:lnTo>
                  <a:lnTo>
                    <a:pt x="137" y="79"/>
                  </a:lnTo>
                  <a:lnTo>
                    <a:pt x="137" y="688"/>
                  </a:lnTo>
                  <a:close/>
                </a:path>
              </a:pathLst>
            </a:custGeom>
            <a:solidFill>
              <a:srgbClr val="BECDD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16" name="Rectangle 207"/>
            <p:cNvSpPr>
              <a:spLocks noChangeArrowheads="1"/>
            </p:cNvSpPr>
            <p:nvPr/>
          </p:nvSpPr>
          <p:spPr bwMode="gray">
            <a:xfrm>
              <a:off x="2295525" y="4422406"/>
              <a:ext cx="319088" cy="31750"/>
            </a:xfrm>
            <a:prstGeom prst="rect">
              <a:avLst/>
            </a:prstGeom>
            <a:solidFill>
              <a:srgbClr val="BECDD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17" name="Freeform 208"/>
            <p:cNvSpPr>
              <a:spLocks/>
            </p:cNvSpPr>
            <p:nvPr/>
          </p:nvSpPr>
          <p:spPr bwMode="gray">
            <a:xfrm>
              <a:off x="2266950" y="4474793"/>
              <a:ext cx="377825" cy="1384300"/>
            </a:xfrm>
            <a:custGeom>
              <a:avLst/>
              <a:gdLst>
                <a:gd name="T0" fmla="*/ 0 w 238"/>
                <a:gd name="T1" fmla="*/ 0 h 872"/>
                <a:gd name="T2" fmla="*/ 0 w 238"/>
                <a:gd name="T3" fmla="*/ 218 h 872"/>
                <a:gd name="T4" fmla="*/ 48 w 238"/>
                <a:gd name="T5" fmla="*/ 218 h 872"/>
                <a:gd name="T6" fmla="*/ 64 w 238"/>
                <a:gd name="T7" fmla="*/ 218 h 872"/>
                <a:gd name="T8" fmla="*/ 64 w 238"/>
                <a:gd name="T9" fmla="*/ 234 h 872"/>
                <a:gd name="T10" fmla="*/ 64 w 238"/>
                <a:gd name="T11" fmla="*/ 872 h 872"/>
                <a:gd name="T12" fmla="*/ 154 w 238"/>
                <a:gd name="T13" fmla="*/ 872 h 872"/>
                <a:gd name="T14" fmla="*/ 153 w 238"/>
                <a:gd name="T15" fmla="*/ 115 h 872"/>
                <a:gd name="T16" fmla="*/ 153 w 238"/>
                <a:gd name="T17" fmla="*/ 101 h 872"/>
                <a:gd name="T18" fmla="*/ 169 w 238"/>
                <a:gd name="T19" fmla="*/ 101 h 872"/>
                <a:gd name="T20" fmla="*/ 238 w 238"/>
                <a:gd name="T21" fmla="*/ 101 h 872"/>
                <a:gd name="T22" fmla="*/ 238 w 238"/>
                <a:gd name="T23" fmla="*/ 0 h 872"/>
                <a:gd name="T24" fmla="*/ 0 w 238"/>
                <a:gd name="T25" fmla="*/ 0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8" h="872">
                  <a:moveTo>
                    <a:pt x="0" y="0"/>
                  </a:moveTo>
                  <a:lnTo>
                    <a:pt x="0" y="218"/>
                  </a:lnTo>
                  <a:lnTo>
                    <a:pt x="48" y="218"/>
                  </a:lnTo>
                  <a:lnTo>
                    <a:pt x="64" y="218"/>
                  </a:lnTo>
                  <a:lnTo>
                    <a:pt x="64" y="234"/>
                  </a:lnTo>
                  <a:lnTo>
                    <a:pt x="64" y="872"/>
                  </a:lnTo>
                  <a:lnTo>
                    <a:pt x="154" y="872"/>
                  </a:lnTo>
                  <a:lnTo>
                    <a:pt x="153" y="115"/>
                  </a:lnTo>
                  <a:lnTo>
                    <a:pt x="153" y="101"/>
                  </a:lnTo>
                  <a:lnTo>
                    <a:pt x="169" y="101"/>
                  </a:lnTo>
                  <a:lnTo>
                    <a:pt x="238" y="101"/>
                  </a:lnTo>
                  <a:lnTo>
                    <a:pt x="2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CDD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18" name="Freeform 209"/>
            <p:cNvSpPr>
              <a:spLocks noEditPoints="1"/>
            </p:cNvSpPr>
            <p:nvPr/>
          </p:nvSpPr>
          <p:spPr bwMode="gray">
            <a:xfrm>
              <a:off x="1958975" y="4846268"/>
              <a:ext cx="384175" cy="1016000"/>
            </a:xfrm>
            <a:custGeom>
              <a:avLst/>
              <a:gdLst>
                <a:gd name="T0" fmla="*/ 0 w 242"/>
                <a:gd name="T1" fmla="*/ 0 h 640"/>
                <a:gd name="T2" fmla="*/ 0 w 242"/>
                <a:gd name="T3" fmla="*/ 638 h 640"/>
                <a:gd name="T4" fmla="*/ 242 w 242"/>
                <a:gd name="T5" fmla="*/ 640 h 640"/>
                <a:gd name="T6" fmla="*/ 242 w 242"/>
                <a:gd name="T7" fmla="*/ 0 h 640"/>
                <a:gd name="T8" fmla="*/ 0 w 242"/>
                <a:gd name="T9" fmla="*/ 0 h 640"/>
                <a:gd name="T10" fmla="*/ 51 w 242"/>
                <a:gd name="T11" fmla="*/ 448 h 640"/>
                <a:gd name="T12" fmla="*/ 25 w 242"/>
                <a:gd name="T13" fmla="*/ 448 h 640"/>
                <a:gd name="T14" fmla="*/ 25 w 242"/>
                <a:gd name="T15" fmla="*/ 396 h 640"/>
                <a:gd name="T16" fmla="*/ 51 w 242"/>
                <a:gd name="T17" fmla="*/ 396 h 640"/>
                <a:gd name="T18" fmla="*/ 51 w 242"/>
                <a:gd name="T19" fmla="*/ 448 h 640"/>
                <a:gd name="T20" fmla="*/ 25 w 242"/>
                <a:gd name="T21" fmla="*/ 371 h 640"/>
                <a:gd name="T22" fmla="*/ 25 w 242"/>
                <a:gd name="T23" fmla="*/ 317 h 640"/>
                <a:gd name="T24" fmla="*/ 51 w 242"/>
                <a:gd name="T25" fmla="*/ 317 h 640"/>
                <a:gd name="T26" fmla="*/ 53 w 242"/>
                <a:gd name="T27" fmla="*/ 371 h 640"/>
                <a:gd name="T28" fmla="*/ 25 w 242"/>
                <a:gd name="T29" fmla="*/ 371 h 640"/>
                <a:gd name="T30" fmla="*/ 51 w 242"/>
                <a:gd name="T31" fmla="*/ 292 h 640"/>
                <a:gd name="T32" fmla="*/ 25 w 242"/>
                <a:gd name="T33" fmla="*/ 292 h 640"/>
                <a:gd name="T34" fmla="*/ 26 w 242"/>
                <a:gd name="T35" fmla="*/ 239 h 640"/>
                <a:gd name="T36" fmla="*/ 53 w 242"/>
                <a:gd name="T37" fmla="*/ 239 h 640"/>
                <a:gd name="T38" fmla="*/ 51 w 242"/>
                <a:gd name="T39" fmla="*/ 292 h 640"/>
                <a:gd name="T40" fmla="*/ 26 w 242"/>
                <a:gd name="T41" fmla="*/ 213 h 640"/>
                <a:gd name="T42" fmla="*/ 26 w 242"/>
                <a:gd name="T43" fmla="*/ 160 h 640"/>
                <a:gd name="T44" fmla="*/ 53 w 242"/>
                <a:gd name="T45" fmla="*/ 160 h 640"/>
                <a:gd name="T46" fmla="*/ 53 w 242"/>
                <a:gd name="T47" fmla="*/ 213 h 640"/>
                <a:gd name="T48" fmla="*/ 26 w 242"/>
                <a:gd name="T49" fmla="*/ 213 h 640"/>
                <a:gd name="T50" fmla="*/ 53 w 242"/>
                <a:gd name="T51" fmla="*/ 135 h 640"/>
                <a:gd name="T52" fmla="*/ 26 w 242"/>
                <a:gd name="T53" fmla="*/ 135 h 640"/>
                <a:gd name="T54" fmla="*/ 26 w 242"/>
                <a:gd name="T55" fmla="*/ 82 h 640"/>
                <a:gd name="T56" fmla="*/ 53 w 242"/>
                <a:gd name="T57" fmla="*/ 82 h 640"/>
                <a:gd name="T58" fmla="*/ 53 w 242"/>
                <a:gd name="T59" fmla="*/ 135 h 640"/>
                <a:gd name="T60" fmla="*/ 97 w 242"/>
                <a:gd name="T61" fmla="*/ 448 h 640"/>
                <a:gd name="T62" fmla="*/ 72 w 242"/>
                <a:gd name="T63" fmla="*/ 448 h 640"/>
                <a:gd name="T64" fmla="*/ 72 w 242"/>
                <a:gd name="T65" fmla="*/ 396 h 640"/>
                <a:gd name="T66" fmla="*/ 99 w 242"/>
                <a:gd name="T67" fmla="*/ 396 h 640"/>
                <a:gd name="T68" fmla="*/ 97 w 242"/>
                <a:gd name="T69" fmla="*/ 448 h 640"/>
                <a:gd name="T70" fmla="*/ 72 w 242"/>
                <a:gd name="T71" fmla="*/ 371 h 640"/>
                <a:gd name="T72" fmla="*/ 71 w 242"/>
                <a:gd name="T73" fmla="*/ 317 h 640"/>
                <a:gd name="T74" fmla="*/ 99 w 242"/>
                <a:gd name="T75" fmla="*/ 317 h 640"/>
                <a:gd name="T76" fmla="*/ 99 w 242"/>
                <a:gd name="T77" fmla="*/ 371 h 640"/>
                <a:gd name="T78" fmla="*/ 72 w 242"/>
                <a:gd name="T79" fmla="*/ 371 h 640"/>
                <a:gd name="T80" fmla="*/ 99 w 242"/>
                <a:gd name="T81" fmla="*/ 292 h 640"/>
                <a:gd name="T82" fmla="*/ 72 w 242"/>
                <a:gd name="T83" fmla="*/ 292 h 640"/>
                <a:gd name="T84" fmla="*/ 72 w 242"/>
                <a:gd name="T85" fmla="*/ 239 h 640"/>
                <a:gd name="T86" fmla="*/ 99 w 242"/>
                <a:gd name="T87" fmla="*/ 239 h 640"/>
                <a:gd name="T88" fmla="*/ 99 w 242"/>
                <a:gd name="T89" fmla="*/ 292 h 640"/>
                <a:gd name="T90" fmla="*/ 72 w 242"/>
                <a:gd name="T91" fmla="*/ 160 h 640"/>
                <a:gd name="T92" fmla="*/ 99 w 242"/>
                <a:gd name="T93" fmla="*/ 160 h 640"/>
                <a:gd name="T94" fmla="*/ 99 w 242"/>
                <a:gd name="T95" fmla="*/ 213 h 640"/>
                <a:gd name="T96" fmla="*/ 72 w 242"/>
                <a:gd name="T97" fmla="*/ 213 h 640"/>
                <a:gd name="T98" fmla="*/ 72 w 242"/>
                <a:gd name="T99" fmla="*/ 160 h 640"/>
                <a:gd name="T100" fmla="*/ 99 w 242"/>
                <a:gd name="T101" fmla="*/ 135 h 640"/>
                <a:gd name="T102" fmla="*/ 72 w 242"/>
                <a:gd name="T103" fmla="*/ 135 h 640"/>
                <a:gd name="T104" fmla="*/ 72 w 242"/>
                <a:gd name="T105" fmla="*/ 82 h 640"/>
                <a:gd name="T106" fmla="*/ 99 w 242"/>
                <a:gd name="T107" fmla="*/ 82 h 640"/>
                <a:gd name="T108" fmla="*/ 99 w 242"/>
                <a:gd name="T109" fmla="*/ 135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2" h="640">
                  <a:moveTo>
                    <a:pt x="0" y="0"/>
                  </a:moveTo>
                  <a:lnTo>
                    <a:pt x="0" y="638"/>
                  </a:lnTo>
                  <a:lnTo>
                    <a:pt x="242" y="640"/>
                  </a:lnTo>
                  <a:lnTo>
                    <a:pt x="242" y="0"/>
                  </a:lnTo>
                  <a:lnTo>
                    <a:pt x="0" y="0"/>
                  </a:lnTo>
                  <a:close/>
                  <a:moveTo>
                    <a:pt x="51" y="448"/>
                  </a:moveTo>
                  <a:lnTo>
                    <a:pt x="25" y="448"/>
                  </a:lnTo>
                  <a:lnTo>
                    <a:pt x="25" y="396"/>
                  </a:lnTo>
                  <a:lnTo>
                    <a:pt x="51" y="396"/>
                  </a:lnTo>
                  <a:lnTo>
                    <a:pt x="51" y="448"/>
                  </a:lnTo>
                  <a:close/>
                  <a:moveTo>
                    <a:pt x="25" y="371"/>
                  </a:moveTo>
                  <a:lnTo>
                    <a:pt x="25" y="317"/>
                  </a:lnTo>
                  <a:lnTo>
                    <a:pt x="51" y="317"/>
                  </a:lnTo>
                  <a:lnTo>
                    <a:pt x="53" y="371"/>
                  </a:lnTo>
                  <a:lnTo>
                    <a:pt x="25" y="371"/>
                  </a:lnTo>
                  <a:close/>
                  <a:moveTo>
                    <a:pt x="51" y="292"/>
                  </a:moveTo>
                  <a:lnTo>
                    <a:pt x="25" y="292"/>
                  </a:lnTo>
                  <a:lnTo>
                    <a:pt x="26" y="239"/>
                  </a:lnTo>
                  <a:lnTo>
                    <a:pt x="53" y="239"/>
                  </a:lnTo>
                  <a:lnTo>
                    <a:pt x="51" y="292"/>
                  </a:lnTo>
                  <a:close/>
                  <a:moveTo>
                    <a:pt x="26" y="213"/>
                  </a:moveTo>
                  <a:lnTo>
                    <a:pt x="26" y="160"/>
                  </a:lnTo>
                  <a:lnTo>
                    <a:pt x="53" y="160"/>
                  </a:lnTo>
                  <a:lnTo>
                    <a:pt x="53" y="213"/>
                  </a:lnTo>
                  <a:lnTo>
                    <a:pt x="26" y="213"/>
                  </a:lnTo>
                  <a:close/>
                  <a:moveTo>
                    <a:pt x="53" y="135"/>
                  </a:moveTo>
                  <a:lnTo>
                    <a:pt x="26" y="135"/>
                  </a:lnTo>
                  <a:lnTo>
                    <a:pt x="26" y="82"/>
                  </a:lnTo>
                  <a:lnTo>
                    <a:pt x="53" y="82"/>
                  </a:lnTo>
                  <a:lnTo>
                    <a:pt x="53" y="135"/>
                  </a:lnTo>
                  <a:close/>
                  <a:moveTo>
                    <a:pt x="97" y="448"/>
                  </a:moveTo>
                  <a:lnTo>
                    <a:pt x="72" y="448"/>
                  </a:lnTo>
                  <a:lnTo>
                    <a:pt x="72" y="396"/>
                  </a:lnTo>
                  <a:lnTo>
                    <a:pt x="99" y="396"/>
                  </a:lnTo>
                  <a:lnTo>
                    <a:pt x="97" y="448"/>
                  </a:lnTo>
                  <a:close/>
                  <a:moveTo>
                    <a:pt x="72" y="371"/>
                  </a:moveTo>
                  <a:lnTo>
                    <a:pt x="71" y="317"/>
                  </a:lnTo>
                  <a:lnTo>
                    <a:pt x="99" y="317"/>
                  </a:lnTo>
                  <a:lnTo>
                    <a:pt x="99" y="371"/>
                  </a:lnTo>
                  <a:lnTo>
                    <a:pt x="72" y="371"/>
                  </a:lnTo>
                  <a:close/>
                  <a:moveTo>
                    <a:pt x="99" y="292"/>
                  </a:moveTo>
                  <a:lnTo>
                    <a:pt x="72" y="292"/>
                  </a:lnTo>
                  <a:lnTo>
                    <a:pt x="72" y="239"/>
                  </a:lnTo>
                  <a:lnTo>
                    <a:pt x="99" y="239"/>
                  </a:lnTo>
                  <a:lnTo>
                    <a:pt x="99" y="292"/>
                  </a:lnTo>
                  <a:close/>
                  <a:moveTo>
                    <a:pt x="72" y="160"/>
                  </a:moveTo>
                  <a:lnTo>
                    <a:pt x="99" y="160"/>
                  </a:lnTo>
                  <a:lnTo>
                    <a:pt x="99" y="213"/>
                  </a:lnTo>
                  <a:lnTo>
                    <a:pt x="72" y="213"/>
                  </a:lnTo>
                  <a:lnTo>
                    <a:pt x="72" y="160"/>
                  </a:lnTo>
                  <a:close/>
                  <a:moveTo>
                    <a:pt x="99" y="135"/>
                  </a:moveTo>
                  <a:lnTo>
                    <a:pt x="72" y="135"/>
                  </a:lnTo>
                  <a:lnTo>
                    <a:pt x="72" y="82"/>
                  </a:lnTo>
                  <a:lnTo>
                    <a:pt x="99" y="82"/>
                  </a:lnTo>
                  <a:lnTo>
                    <a:pt x="99" y="135"/>
                  </a:lnTo>
                  <a:close/>
                </a:path>
              </a:pathLst>
            </a:custGeom>
            <a:solidFill>
              <a:srgbClr val="BECDD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19" name="Rectangle 210"/>
            <p:cNvSpPr>
              <a:spLocks noChangeArrowheads="1"/>
            </p:cNvSpPr>
            <p:nvPr/>
          </p:nvSpPr>
          <p:spPr bwMode="gray">
            <a:xfrm>
              <a:off x="3328988" y="5759081"/>
              <a:ext cx="76200" cy="100013"/>
            </a:xfrm>
            <a:prstGeom prst="rect">
              <a:avLst/>
            </a:prstGeom>
            <a:solidFill>
              <a:srgbClr val="BECDD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20" name="Freeform 212"/>
            <p:cNvSpPr>
              <a:spLocks noEditPoints="1"/>
            </p:cNvSpPr>
            <p:nvPr/>
          </p:nvSpPr>
          <p:spPr bwMode="gray">
            <a:xfrm>
              <a:off x="4479925" y="5089156"/>
              <a:ext cx="347663" cy="765175"/>
            </a:xfrm>
            <a:custGeom>
              <a:avLst/>
              <a:gdLst>
                <a:gd name="T0" fmla="*/ 0 w 219"/>
                <a:gd name="T1" fmla="*/ 482 h 482"/>
                <a:gd name="T2" fmla="*/ 36 w 219"/>
                <a:gd name="T3" fmla="*/ 358 h 482"/>
                <a:gd name="T4" fmla="*/ 110 w 219"/>
                <a:gd name="T5" fmla="*/ 482 h 482"/>
                <a:gd name="T6" fmla="*/ 219 w 219"/>
                <a:gd name="T7" fmla="*/ 0 h 482"/>
                <a:gd name="T8" fmla="*/ 64 w 219"/>
                <a:gd name="T9" fmla="*/ 264 h 482"/>
                <a:gd name="T10" fmla="*/ 38 w 219"/>
                <a:gd name="T11" fmla="*/ 228 h 482"/>
                <a:gd name="T12" fmla="*/ 64 w 219"/>
                <a:gd name="T13" fmla="*/ 264 h 482"/>
                <a:gd name="T14" fmla="*/ 38 w 219"/>
                <a:gd name="T15" fmla="*/ 200 h 482"/>
                <a:gd name="T16" fmla="*/ 64 w 219"/>
                <a:gd name="T17" fmla="*/ 164 h 482"/>
                <a:gd name="T18" fmla="*/ 64 w 219"/>
                <a:gd name="T19" fmla="*/ 134 h 482"/>
                <a:gd name="T20" fmla="*/ 38 w 219"/>
                <a:gd name="T21" fmla="*/ 98 h 482"/>
                <a:gd name="T22" fmla="*/ 64 w 219"/>
                <a:gd name="T23" fmla="*/ 134 h 482"/>
                <a:gd name="T24" fmla="*/ 38 w 219"/>
                <a:gd name="T25" fmla="*/ 68 h 482"/>
                <a:gd name="T26" fmla="*/ 64 w 219"/>
                <a:gd name="T27" fmla="*/ 33 h 482"/>
                <a:gd name="T28" fmla="*/ 122 w 219"/>
                <a:gd name="T29" fmla="*/ 264 h 482"/>
                <a:gd name="T30" fmla="*/ 94 w 219"/>
                <a:gd name="T31" fmla="*/ 228 h 482"/>
                <a:gd name="T32" fmla="*/ 122 w 219"/>
                <a:gd name="T33" fmla="*/ 264 h 482"/>
                <a:gd name="T34" fmla="*/ 94 w 219"/>
                <a:gd name="T35" fmla="*/ 200 h 482"/>
                <a:gd name="T36" fmla="*/ 122 w 219"/>
                <a:gd name="T37" fmla="*/ 164 h 482"/>
                <a:gd name="T38" fmla="*/ 122 w 219"/>
                <a:gd name="T39" fmla="*/ 134 h 482"/>
                <a:gd name="T40" fmla="*/ 94 w 219"/>
                <a:gd name="T41" fmla="*/ 98 h 482"/>
                <a:gd name="T42" fmla="*/ 122 w 219"/>
                <a:gd name="T43" fmla="*/ 134 h 482"/>
                <a:gd name="T44" fmla="*/ 94 w 219"/>
                <a:gd name="T45" fmla="*/ 68 h 482"/>
                <a:gd name="T46" fmla="*/ 122 w 219"/>
                <a:gd name="T47" fmla="*/ 33 h 482"/>
                <a:gd name="T48" fmla="*/ 176 w 219"/>
                <a:gd name="T49" fmla="*/ 394 h 482"/>
                <a:gd name="T50" fmla="*/ 148 w 219"/>
                <a:gd name="T51" fmla="*/ 358 h 482"/>
                <a:gd name="T52" fmla="*/ 176 w 219"/>
                <a:gd name="T53" fmla="*/ 394 h 482"/>
                <a:gd name="T54" fmla="*/ 148 w 219"/>
                <a:gd name="T55" fmla="*/ 330 h 482"/>
                <a:gd name="T56" fmla="*/ 176 w 219"/>
                <a:gd name="T57" fmla="*/ 294 h 482"/>
                <a:gd name="T58" fmla="*/ 176 w 219"/>
                <a:gd name="T59" fmla="*/ 264 h 482"/>
                <a:gd name="T60" fmla="*/ 148 w 219"/>
                <a:gd name="T61" fmla="*/ 228 h 482"/>
                <a:gd name="T62" fmla="*/ 176 w 219"/>
                <a:gd name="T63" fmla="*/ 264 h 482"/>
                <a:gd name="T64" fmla="*/ 148 w 219"/>
                <a:gd name="T65" fmla="*/ 200 h 482"/>
                <a:gd name="T66" fmla="*/ 176 w 219"/>
                <a:gd name="T67" fmla="*/ 164 h 482"/>
                <a:gd name="T68" fmla="*/ 176 w 219"/>
                <a:gd name="T69" fmla="*/ 134 h 482"/>
                <a:gd name="T70" fmla="*/ 148 w 219"/>
                <a:gd name="T71" fmla="*/ 98 h 482"/>
                <a:gd name="T72" fmla="*/ 176 w 219"/>
                <a:gd name="T73" fmla="*/ 134 h 482"/>
                <a:gd name="T74" fmla="*/ 148 w 219"/>
                <a:gd name="T75" fmla="*/ 68 h 482"/>
                <a:gd name="T76" fmla="*/ 176 w 219"/>
                <a:gd name="T77" fmla="*/ 33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9" h="482">
                  <a:moveTo>
                    <a:pt x="0" y="0"/>
                  </a:moveTo>
                  <a:lnTo>
                    <a:pt x="0" y="482"/>
                  </a:lnTo>
                  <a:lnTo>
                    <a:pt x="36" y="482"/>
                  </a:lnTo>
                  <a:lnTo>
                    <a:pt x="36" y="358"/>
                  </a:lnTo>
                  <a:lnTo>
                    <a:pt x="110" y="358"/>
                  </a:lnTo>
                  <a:lnTo>
                    <a:pt x="110" y="482"/>
                  </a:lnTo>
                  <a:lnTo>
                    <a:pt x="219" y="482"/>
                  </a:lnTo>
                  <a:lnTo>
                    <a:pt x="219" y="0"/>
                  </a:lnTo>
                  <a:lnTo>
                    <a:pt x="0" y="0"/>
                  </a:lnTo>
                  <a:close/>
                  <a:moveTo>
                    <a:pt x="64" y="264"/>
                  </a:moveTo>
                  <a:lnTo>
                    <a:pt x="38" y="264"/>
                  </a:lnTo>
                  <a:lnTo>
                    <a:pt x="38" y="228"/>
                  </a:lnTo>
                  <a:lnTo>
                    <a:pt x="64" y="228"/>
                  </a:lnTo>
                  <a:lnTo>
                    <a:pt x="64" y="264"/>
                  </a:lnTo>
                  <a:close/>
                  <a:moveTo>
                    <a:pt x="64" y="200"/>
                  </a:moveTo>
                  <a:lnTo>
                    <a:pt x="38" y="200"/>
                  </a:lnTo>
                  <a:lnTo>
                    <a:pt x="38" y="164"/>
                  </a:lnTo>
                  <a:lnTo>
                    <a:pt x="64" y="164"/>
                  </a:lnTo>
                  <a:lnTo>
                    <a:pt x="64" y="200"/>
                  </a:lnTo>
                  <a:close/>
                  <a:moveTo>
                    <a:pt x="64" y="134"/>
                  </a:moveTo>
                  <a:lnTo>
                    <a:pt x="38" y="134"/>
                  </a:lnTo>
                  <a:lnTo>
                    <a:pt x="38" y="98"/>
                  </a:lnTo>
                  <a:lnTo>
                    <a:pt x="64" y="98"/>
                  </a:lnTo>
                  <a:lnTo>
                    <a:pt x="64" y="134"/>
                  </a:lnTo>
                  <a:close/>
                  <a:moveTo>
                    <a:pt x="64" y="68"/>
                  </a:moveTo>
                  <a:lnTo>
                    <a:pt x="38" y="68"/>
                  </a:lnTo>
                  <a:lnTo>
                    <a:pt x="38" y="33"/>
                  </a:lnTo>
                  <a:lnTo>
                    <a:pt x="64" y="33"/>
                  </a:lnTo>
                  <a:lnTo>
                    <a:pt x="64" y="68"/>
                  </a:lnTo>
                  <a:close/>
                  <a:moveTo>
                    <a:pt x="122" y="264"/>
                  </a:moveTo>
                  <a:lnTo>
                    <a:pt x="94" y="264"/>
                  </a:lnTo>
                  <a:lnTo>
                    <a:pt x="94" y="228"/>
                  </a:lnTo>
                  <a:lnTo>
                    <a:pt x="122" y="228"/>
                  </a:lnTo>
                  <a:lnTo>
                    <a:pt x="122" y="264"/>
                  </a:lnTo>
                  <a:close/>
                  <a:moveTo>
                    <a:pt x="122" y="200"/>
                  </a:moveTo>
                  <a:lnTo>
                    <a:pt x="94" y="200"/>
                  </a:lnTo>
                  <a:lnTo>
                    <a:pt x="94" y="164"/>
                  </a:lnTo>
                  <a:lnTo>
                    <a:pt x="122" y="164"/>
                  </a:lnTo>
                  <a:lnTo>
                    <a:pt x="122" y="200"/>
                  </a:lnTo>
                  <a:close/>
                  <a:moveTo>
                    <a:pt x="122" y="134"/>
                  </a:moveTo>
                  <a:lnTo>
                    <a:pt x="94" y="134"/>
                  </a:lnTo>
                  <a:lnTo>
                    <a:pt x="94" y="98"/>
                  </a:lnTo>
                  <a:lnTo>
                    <a:pt x="122" y="98"/>
                  </a:lnTo>
                  <a:lnTo>
                    <a:pt x="122" y="134"/>
                  </a:lnTo>
                  <a:close/>
                  <a:moveTo>
                    <a:pt x="122" y="68"/>
                  </a:moveTo>
                  <a:lnTo>
                    <a:pt x="94" y="68"/>
                  </a:lnTo>
                  <a:lnTo>
                    <a:pt x="94" y="33"/>
                  </a:lnTo>
                  <a:lnTo>
                    <a:pt x="122" y="33"/>
                  </a:lnTo>
                  <a:lnTo>
                    <a:pt x="122" y="68"/>
                  </a:lnTo>
                  <a:close/>
                  <a:moveTo>
                    <a:pt x="176" y="394"/>
                  </a:moveTo>
                  <a:lnTo>
                    <a:pt x="148" y="394"/>
                  </a:lnTo>
                  <a:lnTo>
                    <a:pt x="148" y="358"/>
                  </a:lnTo>
                  <a:lnTo>
                    <a:pt x="176" y="358"/>
                  </a:lnTo>
                  <a:lnTo>
                    <a:pt x="176" y="394"/>
                  </a:lnTo>
                  <a:close/>
                  <a:moveTo>
                    <a:pt x="176" y="330"/>
                  </a:moveTo>
                  <a:lnTo>
                    <a:pt x="148" y="330"/>
                  </a:lnTo>
                  <a:lnTo>
                    <a:pt x="148" y="294"/>
                  </a:lnTo>
                  <a:lnTo>
                    <a:pt x="176" y="294"/>
                  </a:lnTo>
                  <a:lnTo>
                    <a:pt x="176" y="330"/>
                  </a:lnTo>
                  <a:close/>
                  <a:moveTo>
                    <a:pt x="176" y="264"/>
                  </a:moveTo>
                  <a:lnTo>
                    <a:pt x="148" y="264"/>
                  </a:lnTo>
                  <a:lnTo>
                    <a:pt x="148" y="228"/>
                  </a:lnTo>
                  <a:lnTo>
                    <a:pt x="176" y="228"/>
                  </a:lnTo>
                  <a:lnTo>
                    <a:pt x="176" y="264"/>
                  </a:lnTo>
                  <a:close/>
                  <a:moveTo>
                    <a:pt x="176" y="200"/>
                  </a:moveTo>
                  <a:lnTo>
                    <a:pt x="148" y="200"/>
                  </a:lnTo>
                  <a:lnTo>
                    <a:pt x="148" y="164"/>
                  </a:lnTo>
                  <a:lnTo>
                    <a:pt x="176" y="164"/>
                  </a:lnTo>
                  <a:lnTo>
                    <a:pt x="176" y="200"/>
                  </a:lnTo>
                  <a:close/>
                  <a:moveTo>
                    <a:pt x="176" y="134"/>
                  </a:moveTo>
                  <a:lnTo>
                    <a:pt x="148" y="134"/>
                  </a:lnTo>
                  <a:lnTo>
                    <a:pt x="148" y="98"/>
                  </a:lnTo>
                  <a:lnTo>
                    <a:pt x="176" y="98"/>
                  </a:lnTo>
                  <a:lnTo>
                    <a:pt x="176" y="134"/>
                  </a:lnTo>
                  <a:close/>
                  <a:moveTo>
                    <a:pt x="176" y="68"/>
                  </a:moveTo>
                  <a:lnTo>
                    <a:pt x="148" y="68"/>
                  </a:lnTo>
                  <a:lnTo>
                    <a:pt x="148" y="33"/>
                  </a:lnTo>
                  <a:lnTo>
                    <a:pt x="176" y="33"/>
                  </a:lnTo>
                  <a:lnTo>
                    <a:pt x="176" y="68"/>
                  </a:lnTo>
                  <a:close/>
                </a:path>
              </a:pathLst>
            </a:custGeom>
            <a:solidFill>
              <a:srgbClr val="A5E1E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21" name="Freeform 213"/>
            <p:cNvSpPr>
              <a:spLocks/>
            </p:cNvSpPr>
            <p:nvPr/>
          </p:nvSpPr>
          <p:spPr bwMode="gray">
            <a:xfrm>
              <a:off x="7989888" y="4521624"/>
              <a:ext cx="1620838" cy="1323975"/>
            </a:xfrm>
            <a:custGeom>
              <a:avLst/>
              <a:gdLst>
                <a:gd name="T0" fmla="*/ 832 w 1021"/>
                <a:gd name="T1" fmla="*/ 73 h 834"/>
                <a:gd name="T2" fmla="*/ 832 w 1021"/>
                <a:gd name="T3" fmla="*/ 396 h 834"/>
                <a:gd name="T4" fmla="*/ 784 w 1021"/>
                <a:gd name="T5" fmla="*/ 396 h 834"/>
                <a:gd name="T6" fmla="*/ 774 w 1021"/>
                <a:gd name="T7" fmla="*/ 73 h 834"/>
                <a:gd name="T8" fmla="*/ 712 w 1021"/>
                <a:gd name="T9" fmla="*/ 73 h 834"/>
                <a:gd name="T10" fmla="*/ 703 w 1021"/>
                <a:gd name="T11" fmla="*/ 396 h 834"/>
                <a:gd name="T12" fmla="*/ 680 w 1021"/>
                <a:gd name="T13" fmla="*/ 396 h 834"/>
                <a:gd name="T14" fmla="*/ 672 w 1021"/>
                <a:gd name="T15" fmla="*/ 73 h 834"/>
                <a:gd name="T16" fmla="*/ 610 w 1021"/>
                <a:gd name="T17" fmla="*/ 73 h 834"/>
                <a:gd name="T18" fmla="*/ 600 w 1021"/>
                <a:gd name="T19" fmla="*/ 396 h 834"/>
                <a:gd name="T20" fmla="*/ 0 w 1021"/>
                <a:gd name="T21" fmla="*/ 396 h 834"/>
                <a:gd name="T22" fmla="*/ 0 w 1021"/>
                <a:gd name="T23" fmla="*/ 834 h 834"/>
                <a:gd name="T24" fmla="*/ 832 w 1021"/>
                <a:gd name="T25" fmla="*/ 834 h 834"/>
                <a:gd name="T26" fmla="*/ 1021 w 1021"/>
                <a:gd name="T27" fmla="*/ 834 h 834"/>
                <a:gd name="T28" fmla="*/ 1021 w 1021"/>
                <a:gd name="T29" fmla="*/ 0 h 834"/>
                <a:gd name="T30" fmla="*/ 832 w 1021"/>
                <a:gd name="T31" fmla="*/ 73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1" h="834">
                  <a:moveTo>
                    <a:pt x="832" y="73"/>
                  </a:moveTo>
                  <a:lnTo>
                    <a:pt x="832" y="396"/>
                  </a:lnTo>
                  <a:lnTo>
                    <a:pt x="784" y="396"/>
                  </a:lnTo>
                  <a:lnTo>
                    <a:pt x="774" y="73"/>
                  </a:lnTo>
                  <a:lnTo>
                    <a:pt x="712" y="73"/>
                  </a:lnTo>
                  <a:lnTo>
                    <a:pt x="703" y="396"/>
                  </a:lnTo>
                  <a:lnTo>
                    <a:pt x="680" y="396"/>
                  </a:lnTo>
                  <a:lnTo>
                    <a:pt x="672" y="73"/>
                  </a:lnTo>
                  <a:lnTo>
                    <a:pt x="610" y="73"/>
                  </a:lnTo>
                  <a:lnTo>
                    <a:pt x="600" y="396"/>
                  </a:lnTo>
                  <a:lnTo>
                    <a:pt x="0" y="396"/>
                  </a:lnTo>
                  <a:lnTo>
                    <a:pt x="0" y="834"/>
                  </a:lnTo>
                  <a:lnTo>
                    <a:pt x="832" y="834"/>
                  </a:lnTo>
                  <a:lnTo>
                    <a:pt x="1021" y="834"/>
                  </a:lnTo>
                  <a:lnTo>
                    <a:pt x="1021" y="0"/>
                  </a:lnTo>
                  <a:lnTo>
                    <a:pt x="832" y="73"/>
                  </a:lnTo>
                  <a:close/>
                </a:path>
              </a:pathLst>
            </a:custGeom>
            <a:solidFill>
              <a:srgbClr val="A5E1E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22" name="Freeform 214"/>
            <p:cNvSpPr>
              <a:spLocks noEditPoints="1"/>
            </p:cNvSpPr>
            <p:nvPr/>
          </p:nvSpPr>
          <p:spPr bwMode="gray">
            <a:xfrm>
              <a:off x="7662863" y="4471618"/>
              <a:ext cx="517525" cy="1371600"/>
            </a:xfrm>
            <a:custGeom>
              <a:avLst/>
              <a:gdLst>
                <a:gd name="T0" fmla="*/ 186 w 326"/>
                <a:gd name="T1" fmla="*/ 426 h 864"/>
                <a:gd name="T2" fmla="*/ 186 w 326"/>
                <a:gd name="T3" fmla="*/ 406 h 864"/>
                <a:gd name="T4" fmla="*/ 206 w 326"/>
                <a:gd name="T5" fmla="*/ 406 h 864"/>
                <a:gd name="T6" fmla="*/ 326 w 326"/>
                <a:gd name="T7" fmla="*/ 406 h 864"/>
                <a:gd name="T8" fmla="*/ 326 w 326"/>
                <a:gd name="T9" fmla="*/ 2 h 864"/>
                <a:gd name="T10" fmla="*/ 0 w 326"/>
                <a:gd name="T11" fmla="*/ 0 h 864"/>
                <a:gd name="T12" fmla="*/ 0 w 326"/>
                <a:gd name="T13" fmla="*/ 864 h 864"/>
                <a:gd name="T14" fmla="*/ 186 w 326"/>
                <a:gd name="T15" fmla="*/ 864 h 864"/>
                <a:gd name="T16" fmla="*/ 186 w 326"/>
                <a:gd name="T17" fmla="*/ 426 h 864"/>
                <a:gd name="T18" fmla="*/ 69 w 326"/>
                <a:gd name="T19" fmla="*/ 604 h 864"/>
                <a:gd name="T20" fmla="*/ 35 w 326"/>
                <a:gd name="T21" fmla="*/ 604 h 864"/>
                <a:gd name="T22" fmla="*/ 35 w 326"/>
                <a:gd name="T23" fmla="*/ 533 h 864"/>
                <a:gd name="T24" fmla="*/ 69 w 326"/>
                <a:gd name="T25" fmla="*/ 533 h 864"/>
                <a:gd name="T26" fmla="*/ 69 w 326"/>
                <a:gd name="T27" fmla="*/ 604 h 864"/>
                <a:gd name="T28" fmla="*/ 35 w 326"/>
                <a:gd name="T29" fmla="*/ 498 h 864"/>
                <a:gd name="T30" fmla="*/ 35 w 326"/>
                <a:gd name="T31" fmla="*/ 427 h 864"/>
                <a:gd name="T32" fmla="*/ 69 w 326"/>
                <a:gd name="T33" fmla="*/ 427 h 864"/>
                <a:gd name="T34" fmla="*/ 71 w 326"/>
                <a:gd name="T35" fmla="*/ 498 h 864"/>
                <a:gd name="T36" fmla="*/ 35 w 326"/>
                <a:gd name="T37" fmla="*/ 498 h 864"/>
                <a:gd name="T38" fmla="*/ 69 w 326"/>
                <a:gd name="T39" fmla="*/ 393 h 864"/>
                <a:gd name="T40" fmla="*/ 35 w 326"/>
                <a:gd name="T41" fmla="*/ 393 h 864"/>
                <a:gd name="T42" fmla="*/ 35 w 326"/>
                <a:gd name="T43" fmla="*/ 322 h 864"/>
                <a:gd name="T44" fmla="*/ 71 w 326"/>
                <a:gd name="T45" fmla="*/ 322 h 864"/>
                <a:gd name="T46" fmla="*/ 69 w 326"/>
                <a:gd name="T47" fmla="*/ 393 h 864"/>
                <a:gd name="T48" fmla="*/ 35 w 326"/>
                <a:gd name="T49" fmla="*/ 287 h 864"/>
                <a:gd name="T50" fmla="*/ 35 w 326"/>
                <a:gd name="T51" fmla="*/ 216 h 864"/>
                <a:gd name="T52" fmla="*/ 71 w 326"/>
                <a:gd name="T53" fmla="*/ 216 h 864"/>
                <a:gd name="T54" fmla="*/ 71 w 326"/>
                <a:gd name="T55" fmla="*/ 287 h 864"/>
                <a:gd name="T56" fmla="*/ 35 w 326"/>
                <a:gd name="T57" fmla="*/ 287 h 864"/>
                <a:gd name="T58" fmla="*/ 71 w 326"/>
                <a:gd name="T59" fmla="*/ 183 h 864"/>
                <a:gd name="T60" fmla="*/ 35 w 326"/>
                <a:gd name="T61" fmla="*/ 183 h 864"/>
                <a:gd name="T62" fmla="*/ 35 w 326"/>
                <a:gd name="T63" fmla="*/ 112 h 864"/>
                <a:gd name="T64" fmla="*/ 71 w 326"/>
                <a:gd name="T65" fmla="*/ 112 h 864"/>
                <a:gd name="T66" fmla="*/ 71 w 326"/>
                <a:gd name="T67" fmla="*/ 183 h 864"/>
                <a:gd name="T68" fmla="*/ 132 w 326"/>
                <a:gd name="T69" fmla="*/ 604 h 864"/>
                <a:gd name="T70" fmla="*/ 97 w 326"/>
                <a:gd name="T71" fmla="*/ 604 h 864"/>
                <a:gd name="T72" fmla="*/ 97 w 326"/>
                <a:gd name="T73" fmla="*/ 533 h 864"/>
                <a:gd name="T74" fmla="*/ 132 w 326"/>
                <a:gd name="T75" fmla="*/ 533 h 864"/>
                <a:gd name="T76" fmla="*/ 132 w 326"/>
                <a:gd name="T77" fmla="*/ 604 h 864"/>
                <a:gd name="T78" fmla="*/ 97 w 326"/>
                <a:gd name="T79" fmla="*/ 498 h 864"/>
                <a:gd name="T80" fmla="*/ 97 w 326"/>
                <a:gd name="T81" fmla="*/ 427 h 864"/>
                <a:gd name="T82" fmla="*/ 132 w 326"/>
                <a:gd name="T83" fmla="*/ 427 h 864"/>
                <a:gd name="T84" fmla="*/ 132 w 326"/>
                <a:gd name="T85" fmla="*/ 498 h 864"/>
                <a:gd name="T86" fmla="*/ 97 w 326"/>
                <a:gd name="T87" fmla="*/ 498 h 864"/>
                <a:gd name="T88" fmla="*/ 132 w 326"/>
                <a:gd name="T89" fmla="*/ 393 h 864"/>
                <a:gd name="T90" fmla="*/ 97 w 326"/>
                <a:gd name="T91" fmla="*/ 393 h 864"/>
                <a:gd name="T92" fmla="*/ 97 w 326"/>
                <a:gd name="T93" fmla="*/ 322 h 864"/>
                <a:gd name="T94" fmla="*/ 132 w 326"/>
                <a:gd name="T95" fmla="*/ 322 h 864"/>
                <a:gd name="T96" fmla="*/ 132 w 326"/>
                <a:gd name="T97" fmla="*/ 393 h 864"/>
                <a:gd name="T98" fmla="*/ 97 w 326"/>
                <a:gd name="T99" fmla="*/ 216 h 864"/>
                <a:gd name="T100" fmla="*/ 132 w 326"/>
                <a:gd name="T101" fmla="*/ 216 h 864"/>
                <a:gd name="T102" fmla="*/ 132 w 326"/>
                <a:gd name="T103" fmla="*/ 287 h 864"/>
                <a:gd name="T104" fmla="*/ 97 w 326"/>
                <a:gd name="T105" fmla="*/ 287 h 864"/>
                <a:gd name="T106" fmla="*/ 97 w 326"/>
                <a:gd name="T107" fmla="*/ 216 h 864"/>
                <a:gd name="T108" fmla="*/ 97 w 326"/>
                <a:gd name="T109" fmla="*/ 183 h 864"/>
                <a:gd name="T110" fmla="*/ 97 w 326"/>
                <a:gd name="T111" fmla="*/ 112 h 864"/>
                <a:gd name="T112" fmla="*/ 132 w 326"/>
                <a:gd name="T113" fmla="*/ 112 h 864"/>
                <a:gd name="T114" fmla="*/ 132 w 326"/>
                <a:gd name="T115" fmla="*/ 183 h 864"/>
                <a:gd name="T116" fmla="*/ 97 w 326"/>
                <a:gd name="T117" fmla="*/ 183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6" h="864">
                  <a:moveTo>
                    <a:pt x="186" y="426"/>
                  </a:moveTo>
                  <a:lnTo>
                    <a:pt x="186" y="406"/>
                  </a:lnTo>
                  <a:lnTo>
                    <a:pt x="206" y="406"/>
                  </a:lnTo>
                  <a:lnTo>
                    <a:pt x="326" y="406"/>
                  </a:lnTo>
                  <a:lnTo>
                    <a:pt x="326" y="2"/>
                  </a:lnTo>
                  <a:lnTo>
                    <a:pt x="0" y="0"/>
                  </a:lnTo>
                  <a:lnTo>
                    <a:pt x="0" y="864"/>
                  </a:lnTo>
                  <a:lnTo>
                    <a:pt x="186" y="864"/>
                  </a:lnTo>
                  <a:lnTo>
                    <a:pt x="186" y="426"/>
                  </a:lnTo>
                  <a:close/>
                  <a:moveTo>
                    <a:pt x="69" y="604"/>
                  </a:moveTo>
                  <a:lnTo>
                    <a:pt x="35" y="604"/>
                  </a:lnTo>
                  <a:lnTo>
                    <a:pt x="35" y="533"/>
                  </a:lnTo>
                  <a:lnTo>
                    <a:pt x="69" y="533"/>
                  </a:lnTo>
                  <a:lnTo>
                    <a:pt x="69" y="604"/>
                  </a:lnTo>
                  <a:close/>
                  <a:moveTo>
                    <a:pt x="35" y="498"/>
                  </a:moveTo>
                  <a:lnTo>
                    <a:pt x="35" y="427"/>
                  </a:lnTo>
                  <a:lnTo>
                    <a:pt x="69" y="427"/>
                  </a:lnTo>
                  <a:lnTo>
                    <a:pt x="71" y="498"/>
                  </a:lnTo>
                  <a:lnTo>
                    <a:pt x="35" y="498"/>
                  </a:lnTo>
                  <a:close/>
                  <a:moveTo>
                    <a:pt x="69" y="393"/>
                  </a:moveTo>
                  <a:lnTo>
                    <a:pt x="35" y="393"/>
                  </a:lnTo>
                  <a:lnTo>
                    <a:pt x="35" y="322"/>
                  </a:lnTo>
                  <a:lnTo>
                    <a:pt x="71" y="322"/>
                  </a:lnTo>
                  <a:lnTo>
                    <a:pt x="69" y="393"/>
                  </a:lnTo>
                  <a:close/>
                  <a:moveTo>
                    <a:pt x="35" y="287"/>
                  </a:moveTo>
                  <a:lnTo>
                    <a:pt x="35" y="216"/>
                  </a:lnTo>
                  <a:lnTo>
                    <a:pt x="71" y="216"/>
                  </a:lnTo>
                  <a:lnTo>
                    <a:pt x="71" y="287"/>
                  </a:lnTo>
                  <a:lnTo>
                    <a:pt x="35" y="287"/>
                  </a:lnTo>
                  <a:close/>
                  <a:moveTo>
                    <a:pt x="71" y="183"/>
                  </a:moveTo>
                  <a:lnTo>
                    <a:pt x="35" y="183"/>
                  </a:lnTo>
                  <a:lnTo>
                    <a:pt x="35" y="112"/>
                  </a:lnTo>
                  <a:lnTo>
                    <a:pt x="71" y="112"/>
                  </a:lnTo>
                  <a:lnTo>
                    <a:pt x="71" y="183"/>
                  </a:lnTo>
                  <a:close/>
                  <a:moveTo>
                    <a:pt x="132" y="604"/>
                  </a:moveTo>
                  <a:lnTo>
                    <a:pt x="97" y="604"/>
                  </a:lnTo>
                  <a:lnTo>
                    <a:pt x="97" y="533"/>
                  </a:lnTo>
                  <a:lnTo>
                    <a:pt x="132" y="533"/>
                  </a:lnTo>
                  <a:lnTo>
                    <a:pt x="132" y="604"/>
                  </a:lnTo>
                  <a:close/>
                  <a:moveTo>
                    <a:pt x="97" y="498"/>
                  </a:moveTo>
                  <a:lnTo>
                    <a:pt x="97" y="427"/>
                  </a:lnTo>
                  <a:lnTo>
                    <a:pt x="132" y="427"/>
                  </a:lnTo>
                  <a:lnTo>
                    <a:pt x="132" y="498"/>
                  </a:lnTo>
                  <a:lnTo>
                    <a:pt x="97" y="498"/>
                  </a:lnTo>
                  <a:close/>
                  <a:moveTo>
                    <a:pt x="132" y="393"/>
                  </a:moveTo>
                  <a:lnTo>
                    <a:pt x="97" y="393"/>
                  </a:lnTo>
                  <a:lnTo>
                    <a:pt x="97" y="322"/>
                  </a:lnTo>
                  <a:lnTo>
                    <a:pt x="132" y="322"/>
                  </a:lnTo>
                  <a:lnTo>
                    <a:pt x="132" y="393"/>
                  </a:lnTo>
                  <a:close/>
                  <a:moveTo>
                    <a:pt x="97" y="216"/>
                  </a:moveTo>
                  <a:lnTo>
                    <a:pt x="132" y="216"/>
                  </a:lnTo>
                  <a:lnTo>
                    <a:pt x="132" y="287"/>
                  </a:lnTo>
                  <a:lnTo>
                    <a:pt x="97" y="287"/>
                  </a:lnTo>
                  <a:lnTo>
                    <a:pt x="97" y="216"/>
                  </a:lnTo>
                  <a:close/>
                  <a:moveTo>
                    <a:pt x="97" y="183"/>
                  </a:moveTo>
                  <a:lnTo>
                    <a:pt x="97" y="112"/>
                  </a:lnTo>
                  <a:lnTo>
                    <a:pt x="132" y="112"/>
                  </a:lnTo>
                  <a:lnTo>
                    <a:pt x="132" y="183"/>
                  </a:lnTo>
                  <a:lnTo>
                    <a:pt x="97" y="183"/>
                  </a:lnTo>
                  <a:close/>
                </a:path>
              </a:pathLst>
            </a:custGeom>
            <a:solidFill>
              <a:srgbClr val="4BB9B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23" name="Rectangle 215"/>
            <p:cNvSpPr>
              <a:spLocks noChangeArrowheads="1"/>
            </p:cNvSpPr>
            <p:nvPr/>
          </p:nvSpPr>
          <p:spPr bwMode="gray">
            <a:xfrm>
              <a:off x="8075613" y="5289181"/>
              <a:ext cx="352425" cy="1857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24" name="Rectangle 216"/>
            <p:cNvSpPr>
              <a:spLocks noChangeArrowheads="1"/>
            </p:cNvSpPr>
            <p:nvPr/>
          </p:nvSpPr>
          <p:spPr bwMode="gray">
            <a:xfrm>
              <a:off x="9120188" y="4593856"/>
              <a:ext cx="98425" cy="28575"/>
            </a:xfrm>
            <a:prstGeom prst="rect">
              <a:avLst/>
            </a:prstGeom>
            <a:solidFill>
              <a:srgbClr val="A5E1E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25" name="Rectangle 217"/>
            <p:cNvSpPr>
              <a:spLocks noChangeArrowheads="1"/>
            </p:cNvSpPr>
            <p:nvPr/>
          </p:nvSpPr>
          <p:spPr bwMode="gray">
            <a:xfrm>
              <a:off x="9134475" y="4549406"/>
              <a:ext cx="66675" cy="30163"/>
            </a:xfrm>
            <a:prstGeom prst="rect">
              <a:avLst/>
            </a:prstGeom>
            <a:solidFill>
              <a:srgbClr val="A5E1E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26" name="Rectangle 218"/>
            <p:cNvSpPr>
              <a:spLocks noChangeArrowheads="1"/>
            </p:cNvSpPr>
            <p:nvPr/>
          </p:nvSpPr>
          <p:spPr bwMode="gray">
            <a:xfrm>
              <a:off x="8874125" y="5289181"/>
              <a:ext cx="352425" cy="1857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27" name="Rectangle 219"/>
            <p:cNvSpPr>
              <a:spLocks noChangeArrowheads="1"/>
            </p:cNvSpPr>
            <p:nvPr/>
          </p:nvSpPr>
          <p:spPr bwMode="gray">
            <a:xfrm>
              <a:off x="8955088" y="4697043"/>
              <a:ext cx="25400" cy="190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28" name="Rectangle 220"/>
            <p:cNvSpPr>
              <a:spLocks noChangeArrowheads="1"/>
            </p:cNvSpPr>
            <p:nvPr/>
          </p:nvSpPr>
          <p:spPr bwMode="gray">
            <a:xfrm>
              <a:off x="8955088" y="4728793"/>
              <a:ext cx="25400" cy="174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29" name="Rectangle 221"/>
            <p:cNvSpPr>
              <a:spLocks noChangeArrowheads="1"/>
            </p:cNvSpPr>
            <p:nvPr/>
          </p:nvSpPr>
          <p:spPr bwMode="gray">
            <a:xfrm>
              <a:off x="8180388" y="5270131"/>
              <a:ext cx="15875" cy="220663"/>
            </a:xfrm>
            <a:prstGeom prst="rect">
              <a:avLst/>
            </a:prstGeom>
            <a:solidFill>
              <a:srgbClr val="A5E1E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30" name="Rectangle 222"/>
            <p:cNvSpPr>
              <a:spLocks noChangeArrowheads="1"/>
            </p:cNvSpPr>
            <p:nvPr/>
          </p:nvSpPr>
          <p:spPr bwMode="gray">
            <a:xfrm>
              <a:off x="8297863" y="5270131"/>
              <a:ext cx="15875" cy="220663"/>
            </a:xfrm>
            <a:prstGeom prst="rect">
              <a:avLst/>
            </a:prstGeom>
            <a:solidFill>
              <a:srgbClr val="A5E1E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31" name="Rectangle 223"/>
            <p:cNvSpPr>
              <a:spLocks noChangeArrowheads="1"/>
            </p:cNvSpPr>
            <p:nvPr/>
          </p:nvSpPr>
          <p:spPr bwMode="gray">
            <a:xfrm>
              <a:off x="8475663" y="5289181"/>
              <a:ext cx="350838" cy="1857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32" name="Rectangle 224"/>
            <p:cNvSpPr>
              <a:spLocks noChangeArrowheads="1"/>
            </p:cNvSpPr>
            <p:nvPr/>
          </p:nvSpPr>
          <p:spPr bwMode="gray">
            <a:xfrm>
              <a:off x="8585200" y="5270131"/>
              <a:ext cx="14288" cy="220663"/>
            </a:xfrm>
            <a:prstGeom prst="rect">
              <a:avLst/>
            </a:prstGeom>
            <a:solidFill>
              <a:srgbClr val="A5E1E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33" name="Rectangle 225"/>
            <p:cNvSpPr>
              <a:spLocks noChangeArrowheads="1"/>
            </p:cNvSpPr>
            <p:nvPr/>
          </p:nvSpPr>
          <p:spPr bwMode="gray">
            <a:xfrm>
              <a:off x="8702675" y="5270131"/>
              <a:ext cx="14288" cy="220663"/>
            </a:xfrm>
            <a:prstGeom prst="rect">
              <a:avLst/>
            </a:prstGeom>
            <a:solidFill>
              <a:srgbClr val="A5E1E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34" name="Rectangle 226"/>
            <p:cNvSpPr>
              <a:spLocks noChangeArrowheads="1"/>
            </p:cNvSpPr>
            <p:nvPr/>
          </p:nvSpPr>
          <p:spPr bwMode="gray">
            <a:xfrm>
              <a:off x="8983663" y="5270131"/>
              <a:ext cx="15875" cy="220663"/>
            </a:xfrm>
            <a:prstGeom prst="rect">
              <a:avLst/>
            </a:prstGeom>
            <a:solidFill>
              <a:srgbClr val="A5E1E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35" name="Rectangle 227"/>
            <p:cNvSpPr>
              <a:spLocks noChangeArrowheads="1"/>
            </p:cNvSpPr>
            <p:nvPr/>
          </p:nvSpPr>
          <p:spPr bwMode="gray">
            <a:xfrm>
              <a:off x="9101138" y="5270131"/>
              <a:ext cx="15875" cy="220663"/>
            </a:xfrm>
            <a:prstGeom prst="rect">
              <a:avLst/>
            </a:prstGeom>
            <a:solidFill>
              <a:srgbClr val="A5E1E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36" name="Rectangle 228"/>
            <p:cNvSpPr>
              <a:spLocks noChangeArrowheads="1"/>
            </p:cNvSpPr>
            <p:nvPr/>
          </p:nvSpPr>
          <p:spPr bwMode="gray">
            <a:xfrm>
              <a:off x="8102600" y="5709868"/>
              <a:ext cx="203200" cy="1333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37" name="Rectangle 229"/>
            <p:cNvSpPr>
              <a:spLocks noChangeArrowheads="1"/>
            </p:cNvSpPr>
            <p:nvPr/>
          </p:nvSpPr>
          <p:spPr bwMode="gray">
            <a:xfrm>
              <a:off x="9551988" y="4781181"/>
              <a:ext cx="58738" cy="1412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38" name="Freeform 230"/>
            <p:cNvSpPr>
              <a:spLocks/>
            </p:cNvSpPr>
            <p:nvPr/>
          </p:nvSpPr>
          <p:spPr bwMode="gray">
            <a:xfrm>
              <a:off x="5632450" y="4798643"/>
              <a:ext cx="908050" cy="1044575"/>
            </a:xfrm>
            <a:custGeom>
              <a:avLst/>
              <a:gdLst>
                <a:gd name="T0" fmla="*/ 288 w 572"/>
                <a:gd name="T1" fmla="*/ 0 h 658"/>
                <a:gd name="T2" fmla="*/ 0 w 572"/>
                <a:gd name="T3" fmla="*/ 182 h 658"/>
                <a:gd name="T4" fmla="*/ 19 w 572"/>
                <a:gd name="T5" fmla="*/ 211 h 658"/>
                <a:gd name="T6" fmla="*/ 43 w 572"/>
                <a:gd name="T7" fmla="*/ 197 h 658"/>
                <a:gd name="T8" fmla="*/ 43 w 572"/>
                <a:gd name="T9" fmla="*/ 658 h 658"/>
                <a:gd name="T10" fmla="*/ 531 w 572"/>
                <a:gd name="T11" fmla="*/ 658 h 658"/>
                <a:gd name="T12" fmla="*/ 531 w 572"/>
                <a:gd name="T13" fmla="*/ 198 h 658"/>
                <a:gd name="T14" fmla="*/ 554 w 572"/>
                <a:gd name="T15" fmla="*/ 211 h 658"/>
                <a:gd name="T16" fmla="*/ 572 w 572"/>
                <a:gd name="T17" fmla="*/ 182 h 658"/>
                <a:gd name="T18" fmla="*/ 288 w 572"/>
                <a:gd name="T19" fmla="*/ 0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2" h="658">
                  <a:moveTo>
                    <a:pt x="288" y="0"/>
                  </a:moveTo>
                  <a:lnTo>
                    <a:pt x="0" y="182"/>
                  </a:lnTo>
                  <a:lnTo>
                    <a:pt x="19" y="211"/>
                  </a:lnTo>
                  <a:lnTo>
                    <a:pt x="43" y="197"/>
                  </a:lnTo>
                  <a:lnTo>
                    <a:pt x="43" y="658"/>
                  </a:lnTo>
                  <a:lnTo>
                    <a:pt x="531" y="658"/>
                  </a:lnTo>
                  <a:lnTo>
                    <a:pt x="531" y="198"/>
                  </a:lnTo>
                  <a:lnTo>
                    <a:pt x="554" y="211"/>
                  </a:lnTo>
                  <a:lnTo>
                    <a:pt x="572" y="182"/>
                  </a:lnTo>
                  <a:lnTo>
                    <a:pt x="288" y="0"/>
                  </a:lnTo>
                  <a:close/>
                </a:path>
              </a:pathLst>
            </a:custGeom>
            <a:solidFill>
              <a:srgbClr val="32A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39" name="Rectangle 231"/>
            <p:cNvSpPr>
              <a:spLocks noChangeArrowheads="1"/>
            </p:cNvSpPr>
            <p:nvPr/>
          </p:nvSpPr>
          <p:spPr bwMode="gray">
            <a:xfrm>
              <a:off x="6013450" y="5649543"/>
              <a:ext cx="152400" cy="1936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40" name="Rectangle 232"/>
            <p:cNvSpPr>
              <a:spLocks noChangeArrowheads="1"/>
            </p:cNvSpPr>
            <p:nvPr/>
          </p:nvSpPr>
          <p:spPr bwMode="gray">
            <a:xfrm>
              <a:off x="5776913" y="5157418"/>
              <a:ext cx="93663" cy="968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41" name="Rectangle 233"/>
            <p:cNvSpPr>
              <a:spLocks noChangeArrowheads="1"/>
            </p:cNvSpPr>
            <p:nvPr/>
          </p:nvSpPr>
          <p:spPr bwMode="gray">
            <a:xfrm>
              <a:off x="5951538" y="5157418"/>
              <a:ext cx="93663" cy="968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42" name="Rectangle 234"/>
            <p:cNvSpPr>
              <a:spLocks noChangeArrowheads="1"/>
            </p:cNvSpPr>
            <p:nvPr/>
          </p:nvSpPr>
          <p:spPr bwMode="gray">
            <a:xfrm>
              <a:off x="6126163" y="5157418"/>
              <a:ext cx="96838" cy="968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43" name="Rectangle 235"/>
            <p:cNvSpPr>
              <a:spLocks noChangeArrowheads="1"/>
            </p:cNvSpPr>
            <p:nvPr/>
          </p:nvSpPr>
          <p:spPr bwMode="gray">
            <a:xfrm>
              <a:off x="6300788" y="5157418"/>
              <a:ext cx="96838" cy="968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44" name="Rectangle 236"/>
            <p:cNvSpPr>
              <a:spLocks noChangeArrowheads="1"/>
            </p:cNvSpPr>
            <p:nvPr/>
          </p:nvSpPr>
          <p:spPr bwMode="gray">
            <a:xfrm>
              <a:off x="5776913" y="5322518"/>
              <a:ext cx="93663" cy="936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45" name="Rectangle 237"/>
            <p:cNvSpPr>
              <a:spLocks noChangeArrowheads="1"/>
            </p:cNvSpPr>
            <p:nvPr/>
          </p:nvSpPr>
          <p:spPr bwMode="gray">
            <a:xfrm>
              <a:off x="5951538" y="5322518"/>
              <a:ext cx="93663" cy="936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46" name="Rectangle 238"/>
            <p:cNvSpPr>
              <a:spLocks noChangeArrowheads="1"/>
            </p:cNvSpPr>
            <p:nvPr/>
          </p:nvSpPr>
          <p:spPr bwMode="gray">
            <a:xfrm>
              <a:off x="6126163" y="5322518"/>
              <a:ext cx="96838" cy="936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47" name="Rectangle 239"/>
            <p:cNvSpPr>
              <a:spLocks noChangeArrowheads="1"/>
            </p:cNvSpPr>
            <p:nvPr/>
          </p:nvSpPr>
          <p:spPr bwMode="gray">
            <a:xfrm>
              <a:off x="6300788" y="5322518"/>
              <a:ext cx="96838" cy="936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48" name="Rectangle 240"/>
            <p:cNvSpPr>
              <a:spLocks noChangeArrowheads="1"/>
            </p:cNvSpPr>
            <p:nvPr/>
          </p:nvSpPr>
          <p:spPr bwMode="gray">
            <a:xfrm>
              <a:off x="5776913" y="5484443"/>
              <a:ext cx="93663" cy="968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49" name="Rectangle 241"/>
            <p:cNvSpPr>
              <a:spLocks noChangeArrowheads="1"/>
            </p:cNvSpPr>
            <p:nvPr/>
          </p:nvSpPr>
          <p:spPr bwMode="gray">
            <a:xfrm>
              <a:off x="5951538" y="5484443"/>
              <a:ext cx="93663" cy="968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50" name="Rectangle 242"/>
            <p:cNvSpPr>
              <a:spLocks noChangeArrowheads="1"/>
            </p:cNvSpPr>
            <p:nvPr/>
          </p:nvSpPr>
          <p:spPr bwMode="gray">
            <a:xfrm>
              <a:off x="6126163" y="5484443"/>
              <a:ext cx="96838" cy="968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51" name="Rectangle 243"/>
            <p:cNvSpPr>
              <a:spLocks noChangeArrowheads="1"/>
            </p:cNvSpPr>
            <p:nvPr/>
          </p:nvSpPr>
          <p:spPr bwMode="gray">
            <a:xfrm>
              <a:off x="6300788" y="5484443"/>
              <a:ext cx="96838" cy="968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52" name="Rectangle 244"/>
            <p:cNvSpPr>
              <a:spLocks noChangeArrowheads="1"/>
            </p:cNvSpPr>
            <p:nvPr/>
          </p:nvSpPr>
          <p:spPr bwMode="gray">
            <a:xfrm>
              <a:off x="5776913" y="5649543"/>
              <a:ext cx="93663" cy="936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53" name="Rectangle 245"/>
            <p:cNvSpPr>
              <a:spLocks noChangeArrowheads="1"/>
            </p:cNvSpPr>
            <p:nvPr/>
          </p:nvSpPr>
          <p:spPr bwMode="gray">
            <a:xfrm>
              <a:off x="6300788" y="5649543"/>
              <a:ext cx="96838" cy="936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54" name="Rectangle 246"/>
            <p:cNvSpPr>
              <a:spLocks noChangeArrowheads="1"/>
            </p:cNvSpPr>
            <p:nvPr/>
          </p:nvSpPr>
          <p:spPr bwMode="gray">
            <a:xfrm>
              <a:off x="5756275" y="5176468"/>
              <a:ext cx="652463" cy="4763"/>
            </a:xfrm>
            <a:prstGeom prst="rect">
              <a:avLst/>
            </a:prstGeom>
            <a:solidFill>
              <a:srgbClr val="32A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55" name="Rectangle 247"/>
            <p:cNvSpPr>
              <a:spLocks noChangeArrowheads="1"/>
            </p:cNvSpPr>
            <p:nvPr/>
          </p:nvSpPr>
          <p:spPr bwMode="gray">
            <a:xfrm>
              <a:off x="5761038" y="5338393"/>
              <a:ext cx="647700" cy="4763"/>
            </a:xfrm>
            <a:prstGeom prst="rect">
              <a:avLst/>
            </a:prstGeom>
            <a:solidFill>
              <a:srgbClr val="32A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56" name="Rectangle 248"/>
            <p:cNvSpPr>
              <a:spLocks noChangeArrowheads="1"/>
            </p:cNvSpPr>
            <p:nvPr/>
          </p:nvSpPr>
          <p:spPr bwMode="gray">
            <a:xfrm>
              <a:off x="5761038" y="5503493"/>
              <a:ext cx="647700" cy="4763"/>
            </a:xfrm>
            <a:prstGeom prst="rect">
              <a:avLst/>
            </a:prstGeom>
            <a:solidFill>
              <a:srgbClr val="32A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57" name="Rectangle 249"/>
            <p:cNvSpPr>
              <a:spLocks noChangeArrowheads="1"/>
            </p:cNvSpPr>
            <p:nvPr/>
          </p:nvSpPr>
          <p:spPr bwMode="gray">
            <a:xfrm>
              <a:off x="5761038" y="5668593"/>
              <a:ext cx="190500" cy="4763"/>
            </a:xfrm>
            <a:prstGeom prst="rect">
              <a:avLst/>
            </a:prstGeom>
            <a:solidFill>
              <a:srgbClr val="32A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58" name="Rectangle 250"/>
            <p:cNvSpPr>
              <a:spLocks noChangeArrowheads="1"/>
            </p:cNvSpPr>
            <p:nvPr/>
          </p:nvSpPr>
          <p:spPr bwMode="gray">
            <a:xfrm>
              <a:off x="6256338" y="5668593"/>
              <a:ext cx="152400" cy="4763"/>
            </a:xfrm>
            <a:prstGeom prst="rect">
              <a:avLst/>
            </a:prstGeom>
            <a:solidFill>
              <a:srgbClr val="32A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59" name="Freeform 251"/>
            <p:cNvSpPr>
              <a:spLocks/>
            </p:cNvSpPr>
            <p:nvPr/>
          </p:nvSpPr>
          <p:spPr bwMode="gray">
            <a:xfrm>
              <a:off x="5651500" y="4817693"/>
              <a:ext cx="871538" cy="298450"/>
            </a:xfrm>
            <a:custGeom>
              <a:avLst/>
              <a:gdLst>
                <a:gd name="T0" fmla="*/ 0 w 549"/>
                <a:gd name="T1" fmla="*/ 173 h 188"/>
                <a:gd name="T2" fmla="*/ 10 w 549"/>
                <a:gd name="T3" fmla="*/ 188 h 188"/>
                <a:gd name="T4" fmla="*/ 276 w 549"/>
                <a:gd name="T5" fmla="*/ 20 h 188"/>
                <a:gd name="T6" fmla="*/ 539 w 549"/>
                <a:gd name="T7" fmla="*/ 188 h 188"/>
                <a:gd name="T8" fmla="*/ 549 w 549"/>
                <a:gd name="T9" fmla="*/ 173 h 188"/>
                <a:gd name="T10" fmla="*/ 276 w 549"/>
                <a:gd name="T11" fmla="*/ 0 h 188"/>
                <a:gd name="T12" fmla="*/ 0 w 549"/>
                <a:gd name="T13" fmla="*/ 173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9" h="188">
                  <a:moveTo>
                    <a:pt x="0" y="173"/>
                  </a:moveTo>
                  <a:lnTo>
                    <a:pt x="10" y="188"/>
                  </a:lnTo>
                  <a:lnTo>
                    <a:pt x="276" y="20"/>
                  </a:lnTo>
                  <a:lnTo>
                    <a:pt x="539" y="188"/>
                  </a:lnTo>
                  <a:lnTo>
                    <a:pt x="549" y="173"/>
                  </a:lnTo>
                  <a:lnTo>
                    <a:pt x="276" y="0"/>
                  </a:lnTo>
                  <a:lnTo>
                    <a:pt x="0" y="17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60" name="Rectangle 256"/>
            <p:cNvSpPr>
              <a:spLocks noChangeArrowheads="1"/>
            </p:cNvSpPr>
            <p:nvPr/>
          </p:nvSpPr>
          <p:spPr bwMode="gray">
            <a:xfrm>
              <a:off x="6357938" y="3865193"/>
              <a:ext cx="958850" cy="47625"/>
            </a:xfrm>
            <a:prstGeom prst="rect">
              <a:avLst/>
            </a:prstGeom>
            <a:solidFill>
              <a:srgbClr val="BECDD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grpSp>
          <p:nvGrpSpPr>
            <p:cNvPr id="261" name="Group 1"/>
            <p:cNvGrpSpPr/>
            <p:nvPr/>
          </p:nvGrpSpPr>
          <p:grpSpPr bwMode="gray">
            <a:xfrm>
              <a:off x="3641725" y="4152531"/>
              <a:ext cx="766763" cy="1706563"/>
              <a:chOff x="3641725" y="4173538"/>
              <a:chExt cx="766763" cy="1706563"/>
            </a:xfrm>
          </p:grpSpPr>
          <p:sp>
            <p:nvSpPr>
              <p:cNvPr id="265" name="Freeform 257"/>
              <p:cNvSpPr>
                <a:spLocks/>
              </p:cNvSpPr>
              <p:nvPr/>
            </p:nvSpPr>
            <p:spPr bwMode="gray">
              <a:xfrm>
                <a:off x="3641725" y="4173538"/>
                <a:ext cx="766763" cy="1706563"/>
              </a:xfrm>
              <a:custGeom>
                <a:avLst/>
                <a:gdLst>
                  <a:gd name="T0" fmla="*/ 339 w 483"/>
                  <a:gd name="T1" fmla="*/ 93 h 1075"/>
                  <a:gd name="T2" fmla="*/ 339 w 483"/>
                  <a:gd name="T3" fmla="*/ 0 h 1075"/>
                  <a:gd name="T4" fmla="*/ 143 w 483"/>
                  <a:gd name="T5" fmla="*/ 0 h 1075"/>
                  <a:gd name="T6" fmla="*/ 143 w 483"/>
                  <a:gd name="T7" fmla="*/ 93 h 1075"/>
                  <a:gd name="T8" fmla="*/ 0 w 483"/>
                  <a:gd name="T9" fmla="*/ 93 h 1075"/>
                  <a:gd name="T10" fmla="*/ 0 w 483"/>
                  <a:gd name="T11" fmla="*/ 1075 h 1075"/>
                  <a:gd name="T12" fmla="*/ 483 w 483"/>
                  <a:gd name="T13" fmla="*/ 1075 h 1075"/>
                  <a:gd name="T14" fmla="*/ 483 w 483"/>
                  <a:gd name="T15" fmla="*/ 93 h 1075"/>
                  <a:gd name="T16" fmla="*/ 339 w 483"/>
                  <a:gd name="T17" fmla="*/ 93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3" h="1075">
                    <a:moveTo>
                      <a:pt x="339" y="93"/>
                    </a:moveTo>
                    <a:lnTo>
                      <a:pt x="339" y="0"/>
                    </a:lnTo>
                    <a:lnTo>
                      <a:pt x="143" y="0"/>
                    </a:lnTo>
                    <a:lnTo>
                      <a:pt x="143" y="93"/>
                    </a:lnTo>
                    <a:lnTo>
                      <a:pt x="0" y="93"/>
                    </a:lnTo>
                    <a:lnTo>
                      <a:pt x="0" y="1075"/>
                    </a:lnTo>
                    <a:lnTo>
                      <a:pt x="483" y="1075"/>
                    </a:lnTo>
                    <a:lnTo>
                      <a:pt x="483" y="93"/>
                    </a:lnTo>
                    <a:lnTo>
                      <a:pt x="339" y="93"/>
                    </a:lnTo>
                    <a:close/>
                  </a:path>
                </a:pathLst>
              </a:custGeom>
              <a:solidFill>
                <a:srgbClr val="BECD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66" name="Rectangle 258"/>
              <p:cNvSpPr>
                <a:spLocks noChangeArrowheads="1"/>
              </p:cNvSpPr>
              <p:nvPr/>
            </p:nvSpPr>
            <p:spPr bwMode="gray">
              <a:xfrm>
                <a:off x="3686175" y="4443413"/>
                <a:ext cx="676275" cy="139223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67" name="Freeform 260"/>
              <p:cNvSpPr>
                <a:spLocks noEditPoints="1"/>
              </p:cNvSpPr>
              <p:nvPr/>
            </p:nvSpPr>
            <p:spPr bwMode="gray">
              <a:xfrm>
                <a:off x="3686175" y="4443413"/>
                <a:ext cx="676275" cy="1392238"/>
              </a:xfrm>
              <a:custGeom>
                <a:avLst/>
                <a:gdLst>
                  <a:gd name="T0" fmla="*/ 362 w 426"/>
                  <a:gd name="T1" fmla="*/ 69 h 877"/>
                  <a:gd name="T2" fmla="*/ 247 w 426"/>
                  <a:gd name="T3" fmla="*/ 0 h 877"/>
                  <a:gd name="T4" fmla="*/ 179 w 426"/>
                  <a:gd name="T5" fmla="*/ 69 h 877"/>
                  <a:gd name="T6" fmla="*/ 64 w 426"/>
                  <a:gd name="T7" fmla="*/ 0 h 877"/>
                  <a:gd name="T8" fmla="*/ 58 w 426"/>
                  <a:gd name="T9" fmla="*/ 142 h 877"/>
                  <a:gd name="T10" fmla="*/ 0 w 426"/>
                  <a:gd name="T11" fmla="*/ 223 h 877"/>
                  <a:gd name="T12" fmla="*/ 58 w 426"/>
                  <a:gd name="T13" fmla="*/ 361 h 877"/>
                  <a:gd name="T14" fmla="*/ 0 w 426"/>
                  <a:gd name="T15" fmla="*/ 442 h 877"/>
                  <a:gd name="T16" fmla="*/ 58 w 426"/>
                  <a:gd name="T17" fmla="*/ 580 h 877"/>
                  <a:gd name="T18" fmla="*/ 0 w 426"/>
                  <a:gd name="T19" fmla="*/ 661 h 877"/>
                  <a:gd name="T20" fmla="*/ 58 w 426"/>
                  <a:gd name="T21" fmla="*/ 799 h 877"/>
                  <a:gd name="T22" fmla="*/ 64 w 426"/>
                  <a:gd name="T23" fmla="*/ 806 h 877"/>
                  <a:gd name="T24" fmla="*/ 179 w 426"/>
                  <a:gd name="T25" fmla="*/ 877 h 877"/>
                  <a:gd name="T26" fmla="*/ 247 w 426"/>
                  <a:gd name="T27" fmla="*/ 806 h 877"/>
                  <a:gd name="T28" fmla="*/ 362 w 426"/>
                  <a:gd name="T29" fmla="*/ 877 h 877"/>
                  <a:gd name="T30" fmla="*/ 368 w 426"/>
                  <a:gd name="T31" fmla="*/ 733 h 877"/>
                  <a:gd name="T32" fmla="*/ 426 w 426"/>
                  <a:gd name="T33" fmla="*/ 654 h 877"/>
                  <a:gd name="T34" fmla="*/ 368 w 426"/>
                  <a:gd name="T35" fmla="*/ 514 h 877"/>
                  <a:gd name="T36" fmla="*/ 426 w 426"/>
                  <a:gd name="T37" fmla="*/ 435 h 877"/>
                  <a:gd name="T38" fmla="*/ 368 w 426"/>
                  <a:gd name="T39" fmla="*/ 295 h 877"/>
                  <a:gd name="T40" fmla="*/ 426 w 426"/>
                  <a:gd name="T41" fmla="*/ 216 h 877"/>
                  <a:gd name="T42" fmla="*/ 368 w 426"/>
                  <a:gd name="T43" fmla="*/ 76 h 877"/>
                  <a:gd name="T44" fmla="*/ 308 w 426"/>
                  <a:gd name="T45" fmla="*/ 76 h 877"/>
                  <a:gd name="T46" fmla="*/ 308 w 426"/>
                  <a:gd name="T47" fmla="*/ 223 h 877"/>
                  <a:gd name="T48" fmla="*/ 362 w 426"/>
                  <a:gd name="T49" fmla="*/ 295 h 877"/>
                  <a:gd name="T50" fmla="*/ 362 w 426"/>
                  <a:gd name="T51" fmla="*/ 435 h 877"/>
                  <a:gd name="T52" fmla="*/ 308 w 426"/>
                  <a:gd name="T53" fmla="*/ 508 h 877"/>
                  <a:gd name="T54" fmla="*/ 308 w 426"/>
                  <a:gd name="T55" fmla="*/ 514 h 877"/>
                  <a:gd name="T56" fmla="*/ 247 w 426"/>
                  <a:gd name="T57" fmla="*/ 148 h 877"/>
                  <a:gd name="T58" fmla="*/ 301 w 426"/>
                  <a:gd name="T59" fmla="*/ 223 h 877"/>
                  <a:gd name="T60" fmla="*/ 301 w 426"/>
                  <a:gd name="T61" fmla="*/ 361 h 877"/>
                  <a:gd name="T62" fmla="*/ 247 w 426"/>
                  <a:gd name="T63" fmla="*/ 435 h 877"/>
                  <a:gd name="T64" fmla="*/ 247 w 426"/>
                  <a:gd name="T65" fmla="*/ 442 h 877"/>
                  <a:gd name="T66" fmla="*/ 301 w 426"/>
                  <a:gd name="T67" fmla="*/ 587 h 877"/>
                  <a:gd name="T68" fmla="*/ 240 w 426"/>
                  <a:gd name="T69" fmla="*/ 661 h 877"/>
                  <a:gd name="T70" fmla="*/ 125 w 426"/>
                  <a:gd name="T71" fmla="*/ 661 h 877"/>
                  <a:gd name="T72" fmla="*/ 247 w 426"/>
                  <a:gd name="T73" fmla="*/ 727 h 877"/>
                  <a:gd name="T74" fmla="*/ 186 w 426"/>
                  <a:gd name="T75" fmla="*/ 76 h 877"/>
                  <a:gd name="T76" fmla="*/ 186 w 426"/>
                  <a:gd name="T77" fmla="*/ 223 h 877"/>
                  <a:gd name="T78" fmla="*/ 240 w 426"/>
                  <a:gd name="T79" fmla="*/ 295 h 877"/>
                  <a:gd name="T80" fmla="*/ 240 w 426"/>
                  <a:gd name="T81" fmla="*/ 435 h 877"/>
                  <a:gd name="T82" fmla="*/ 186 w 426"/>
                  <a:gd name="T83" fmla="*/ 508 h 877"/>
                  <a:gd name="T84" fmla="*/ 186 w 426"/>
                  <a:gd name="T85" fmla="*/ 514 h 877"/>
                  <a:gd name="T86" fmla="*/ 125 w 426"/>
                  <a:gd name="T87" fmla="*/ 76 h 877"/>
                  <a:gd name="T88" fmla="*/ 179 w 426"/>
                  <a:gd name="T89" fmla="*/ 148 h 877"/>
                  <a:gd name="T90" fmla="*/ 179 w 426"/>
                  <a:gd name="T91" fmla="*/ 288 h 877"/>
                  <a:gd name="T92" fmla="*/ 125 w 426"/>
                  <a:gd name="T93" fmla="*/ 361 h 877"/>
                  <a:gd name="T94" fmla="*/ 125 w 426"/>
                  <a:gd name="T95" fmla="*/ 368 h 877"/>
                  <a:gd name="T96" fmla="*/ 125 w 426"/>
                  <a:gd name="T97" fmla="*/ 514 h 877"/>
                  <a:gd name="T98" fmla="*/ 179 w 426"/>
                  <a:gd name="T99" fmla="*/ 654 h 877"/>
                  <a:gd name="T100" fmla="*/ 119 w 426"/>
                  <a:gd name="T101" fmla="*/ 142 h 877"/>
                  <a:gd name="T102" fmla="*/ 64 w 426"/>
                  <a:gd name="T103" fmla="*/ 216 h 877"/>
                  <a:gd name="T104" fmla="*/ 64 w 426"/>
                  <a:gd name="T105" fmla="*/ 223 h 877"/>
                  <a:gd name="T106" fmla="*/ 64 w 426"/>
                  <a:gd name="T107" fmla="*/ 368 h 877"/>
                  <a:gd name="T108" fmla="*/ 119 w 426"/>
                  <a:gd name="T109" fmla="*/ 442 h 877"/>
                  <a:gd name="T110" fmla="*/ 119 w 426"/>
                  <a:gd name="T111" fmla="*/ 580 h 877"/>
                  <a:gd name="T112" fmla="*/ 64 w 426"/>
                  <a:gd name="T113" fmla="*/ 654 h 877"/>
                  <a:gd name="T114" fmla="*/ 64 w 426"/>
                  <a:gd name="T115" fmla="*/ 661 h 877"/>
                  <a:gd name="T116" fmla="*/ 125 w 426"/>
                  <a:gd name="T117" fmla="*/ 799 h 877"/>
                  <a:gd name="T118" fmla="*/ 186 w 426"/>
                  <a:gd name="T119" fmla="*/ 733 h 877"/>
                  <a:gd name="T120" fmla="*/ 301 w 426"/>
                  <a:gd name="T121" fmla="*/ 733 h 877"/>
                  <a:gd name="T122" fmla="*/ 362 w 426"/>
                  <a:gd name="T123" fmla="*/ 733 h 877"/>
                  <a:gd name="T124" fmla="*/ 362 w 426"/>
                  <a:gd name="T125" fmla="*/ 727 h 8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26" h="877">
                    <a:moveTo>
                      <a:pt x="426" y="76"/>
                    </a:moveTo>
                    <a:lnTo>
                      <a:pt x="426" y="69"/>
                    </a:lnTo>
                    <a:lnTo>
                      <a:pt x="368" y="69"/>
                    </a:lnTo>
                    <a:lnTo>
                      <a:pt x="368" y="0"/>
                    </a:lnTo>
                    <a:lnTo>
                      <a:pt x="362" y="0"/>
                    </a:lnTo>
                    <a:lnTo>
                      <a:pt x="362" y="69"/>
                    </a:lnTo>
                    <a:lnTo>
                      <a:pt x="308" y="69"/>
                    </a:lnTo>
                    <a:lnTo>
                      <a:pt x="308" y="0"/>
                    </a:lnTo>
                    <a:lnTo>
                      <a:pt x="301" y="0"/>
                    </a:lnTo>
                    <a:lnTo>
                      <a:pt x="301" y="69"/>
                    </a:lnTo>
                    <a:lnTo>
                      <a:pt x="247" y="69"/>
                    </a:lnTo>
                    <a:lnTo>
                      <a:pt x="247" y="0"/>
                    </a:lnTo>
                    <a:lnTo>
                      <a:pt x="240" y="0"/>
                    </a:lnTo>
                    <a:lnTo>
                      <a:pt x="240" y="69"/>
                    </a:lnTo>
                    <a:lnTo>
                      <a:pt x="186" y="69"/>
                    </a:lnTo>
                    <a:lnTo>
                      <a:pt x="186" y="0"/>
                    </a:lnTo>
                    <a:lnTo>
                      <a:pt x="179" y="0"/>
                    </a:lnTo>
                    <a:lnTo>
                      <a:pt x="179" y="69"/>
                    </a:lnTo>
                    <a:lnTo>
                      <a:pt x="125" y="69"/>
                    </a:lnTo>
                    <a:lnTo>
                      <a:pt x="125" y="0"/>
                    </a:lnTo>
                    <a:lnTo>
                      <a:pt x="119" y="0"/>
                    </a:lnTo>
                    <a:lnTo>
                      <a:pt x="119" y="69"/>
                    </a:lnTo>
                    <a:lnTo>
                      <a:pt x="64" y="69"/>
                    </a:lnTo>
                    <a:lnTo>
                      <a:pt x="64" y="0"/>
                    </a:lnTo>
                    <a:lnTo>
                      <a:pt x="58" y="0"/>
                    </a:lnTo>
                    <a:lnTo>
                      <a:pt x="58" y="69"/>
                    </a:lnTo>
                    <a:lnTo>
                      <a:pt x="0" y="69"/>
                    </a:lnTo>
                    <a:lnTo>
                      <a:pt x="0" y="76"/>
                    </a:lnTo>
                    <a:lnTo>
                      <a:pt x="58" y="76"/>
                    </a:lnTo>
                    <a:lnTo>
                      <a:pt x="58" y="142"/>
                    </a:lnTo>
                    <a:lnTo>
                      <a:pt x="0" y="142"/>
                    </a:lnTo>
                    <a:lnTo>
                      <a:pt x="0" y="148"/>
                    </a:lnTo>
                    <a:lnTo>
                      <a:pt x="58" y="148"/>
                    </a:lnTo>
                    <a:lnTo>
                      <a:pt x="58" y="216"/>
                    </a:lnTo>
                    <a:lnTo>
                      <a:pt x="0" y="216"/>
                    </a:lnTo>
                    <a:lnTo>
                      <a:pt x="0" y="223"/>
                    </a:lnTo>
                    <a:lnTo>
                      <a:pt x="58" y="223"/>
                    </a:lnTo>
                    <a:lnTo>
                      <a:pt x="58" y="288"/>
                    </a:lnTo>
                    <a:lnTo>
                      <a:pt x="0" y="288"/>
                    </a:lnTo>
                    <a:lnTo>
                      <a:pt x="0" y="295"/>
                    </a:lnTo>
                    <a:lnTo>
                      <a:pt x="58" y="295"/>
                    </a:lnTo>
                    <a:lnTo>
                      <a:pt x="58" y="361"/>
                    </a:lnTo>
                    <a:lnTo>
                      <a:pt x="0" y="361"/>
                    </a:lnTo>
                    <a:lnTo>
                      <a:pt x="0" y="368"/>
                    </a:lnTo>
                    <a:lnTo>
                      <a:pt x="58" y="368"/>
                    </a:lnTo>
                    <a:lnTo>
                      <a:pt x="58" y="435"/>
                    </a:lnTo>
                    <a:lnTo>
                      <a:pt x="0" y="435"/>
                    </a:lnTo>
                    <a:lnTo>
                      <a:pt x="0" y="442"/>
                    </a:lnTo>
                    <a:lnTo>
                      <a:pt x="58" y="442"/>
                    </a:lnTo>
                    <a:lnTo>
                      <a:pt x="58" y="508"/>
                    </a:lnTo>
                    <a:lnTo>
                      <a:pt x="0" y="508"/>
                    </a:lnTo>
                    <a:lnTo>
                      <a:pt x="0" y="514"/>
                    </a:lnTo>
                    <a:lnTo>
                      <a:pt x="58" y="514"/>
                    </a:lnTo>
                    <a:lnTo>
                      <a:pt x="58" y="580"/>
                    </a:lnTo>
                    <a:lnTo>
                      <a:pt x="0" y="580"/>
                    </a:lnTo>
                    <a:lnTo>
                      <a:pt x="0" y="587"/>
                    </a:lnTo>
                    <a:lnTo>
                      <a:pt x="58" y="587"/>
                    </a:lnTo>
                    <a:lnTo>
                      <a:pt x="58" y="654"/>
                    </a:lnTo>
                    <a:lnTo>
                      <a:pt x="0" y="654"/>
                    </a:lnTo>
                    <a:lnTo>
                      <a:pt x="0" y="661"/>
                    </a:lnTo>
                    <a:lnTo>
                      <a:pt x="58" y="661"/>
                    </a:lnTo>
                    <a:lnTo>
                      <a:pt x="58" y="727"/>
                    </a:lnTo>
                    <a:lnTo>
                      <a:pt x="0" y="727"/>
                    </a:lnTo>
                    <a:lnTo>
                      <a:pt x="0" y="733"/>
                    </a:lnTo>
                    <a:lnTo>
                      <a:pt x="58" y="733"/>
                    </a:lnTo>
                    <a:lnTo>
                      <a:pt x="58" y="799"/>
                    </a:lnTo>
                    <a:lnTo>
                      <a:pt x="0" y="799"/>
                    </a:lnTo>
                    <a:lnTo>
                      <a:pt x="0" y="806"/>
                    </a:lnTo>
                    <a:lnTo>
                      <a:pt x="58" y="806"/>
                    </a:lnTo>
                    <a:lnTo>
                      <a:pt x="58" y="877"/>
                    </a:lnTo>
                    <a:lnTo>
                      <a:pt x="64" y="877"/>
                    </a:lnTo>
                    <a:lnTo>
                      <a:pt x="64" y="806"/>
                    </a:lnTo>
                    <a:lnTo>
                      <a:pt x="119" y="806"/>
                    </a:lnTo>
                    <a:lnTo>
                      <a:pt x="119" y="877"/>
                    </a:lnTo>
                    <a:lnTo>
                      <a:pt x="125" y="877"/>
                    </a:lnTo>
                    <a:lnTo>
                      <a:pt x="125" y="806"/>
                    </a:lnTo>
                    <a:lnTo>
                      <a:pt x="179" y="806"/>
                    </a:lnTo>
                    <a:lnTo>
                      <a:pt x="179" y="877"/>
                    </a:lnTo>
                    <a:lnTo>
                      <a:pt x="186" y="877"/>
                    </a:lnTo>
                    <a:lnTo>
                      <a:pt x="186" y="806"/>
                    </a:lnTo>
                    <a:lnTo>
                      <a:pt x="240" y="806"/>
                    </a:lnTo>
                    <a:lnTo>
                      <a:pt x="240" y="877"/>
                    </a:lnTo>
                    <a:lnTo>
                      <a:pt x="247" y="877"/>
                    </a:lnTo>
                    <a:lnTo>
                      <a:pt x="247" y="806"/>
                    </a:lnTo>
                    <a:lnTo>
                      <a:pt x="301" y="806"/>
                    </a:lnTo>
                    <a:lnTo>
                      <a:pt x="301" y="877"/>
                    </a:lnTo>
                    <a:lnTo>
                      <a:pt x="308" y="877"/>
                    </a:lnTo>
                    <a:lnTo>
                      <a:pt x="308" y="806"/>
                    </a:lnTo>
                    <a:lnTo>
                      <a:pt x="362" y="806"/>
                    </a:lnTo>
                    <a:lnTo>
                      <a:pt x="362" y="877"/>
                    </a:lnTo>
                    <a:lnTo>
                      <a:pt x="368" y="877"/>
                    </a:lnTo>
                    <a:lnTo>
                      <a:pt x="368" y="806"/>
                    </a:lnTo>
                    <a:lnTo>
                      <a:pt x="426" y="806"/>
                    </a:lnTo>
                    <a:lnTo>
                      <a:pt x="426" y="799"/>
                    </a:lnTo>
                    <a:lnTo>
                      <a:pt x="368" y="799"/>
                    </a:lnTo>
                    <a:lnTo>
                      <a:pt x="368" y="733"/>
                    </a:lnTo>
                    <a:lnTo>
                      <a:pt x="426" y="733"/>
                    </a:lnTo>
                    <a:lnTo>
                      <a:pt x="426" y="727"/>
                    </a:lnTo>
                    <a:lnTo>
                      <a:pt x="368" y="727"/>
                    </a:lnTo>
                    <a:lnTo>
                      <a:pt x="368" y="661"/>
                    </a:lnTo>
                    <a:lnTo>
                      <a:pt x="426" y="661"/>
                    </a:lnTo>
                    <a:lnTo>
                      <a:pt x="426" y="654"/>
                    </a:lnTo>
                    <a:lnTo>
                      <a:pt x="368" y="654"/>
                    </a:lnTo>
                    <a:lnTo>
                      <a:pt x="368" y="587"/>
                    </a:lnTo>
                    <a:lnTo>
                      <a:pt x="426" y="587"/>
                    </a:lnTo>
                    <a:lnTo>
                      <a:pt x="426" y="580"/>
                    </a:lnTo>
                    <a:lnTo>
                      <a:pt x="368" y="580"/>
                    </a:lnTo>
                    <a:lnTo>
                      <a:pt x="368" y="514"/>
                    </a:lnTo>
                    <a:lnTo>
                      <a:pt x="426" y="514"/>
                    </a:lnTo>
                    <a:lnTo>
                      <a:pt x="426" y="508"/>
                    </a:lnTo>
                    <a:lnTo>
                      <a:pt x="368" y="508"/>
                    </a:lnTo>
                    <a:lnTo>
                      <a:pt x="368" y="442"/>
                    </a:lnTo>
                    <a:lnTo>
                      <a:pt x="426" y="442"/>
                    </a:lnTo>
                    <a:lnTo>
                      <a:pt x="426" y="435"/>
                    </a:lnTo>
                    <a:lnTo>
                      <a:pt x="368" y="435"/>
                    </a:lnTo>
                    <a:lnTo>
                      <a:pt x="368" y="368"/>
                    </a:lnTo>
                    <a:lnTo>
                      <a:pt x="426" y="368"/>
                    </a:lnTo>
                    <a:lnTo>
                      <a:pt x="426" y="361"/>
                    </a:lnTo>
                    <a:lnTo>
                      <a:pt x="368" y="361"/>
                    </a:lnTo>
                    <a:lnTo>
                      <a:pt x="368" y="295"/>
                    </a:lnTo>
                    <a:lnTo>
                      <a:pt x="426" y="295"/>
                    </a:lnTo>
                    <a:lnTo>
                      <a:pt x="426" y="288"/>
                    </a:lnTo>
                    <a:lnTo>
                      <a:pt x="368" y="288"/>
                    </a:lnTo>
                    <a:lnTo>
                      <a:pt x="368" y="223"/>
                    </a:lnTo>
                    <a:lnTo>
                      <a:pt x="426" y="223"/>
                    </a:lnTo>
                    <a:lnTo>
                      <a:pt x="426" y="216"/>
                    </a:lnTo>
                    <a:lnTo>
                      <a:pt x="368" y="216"/>
                    </a:lnTo>
                    <a:lnTo>
                      <a:pt x="368" y="148"/>
                    </a:lnTo>
                    <a:lnTo>
                      <a:pt x="426" y="148"/>
                    </a:lnTo>
                    <a:lnTo>
                      <a:pt x="426" y="142"/>
                    </a:lnTo>
                    <a:lnTo>
                      <a:pt x="368" y="142"/>
                    </a:lnTo>
                    <a:lnTo>
                      <a:pt x="368" y="76"/>
                    </a:lnTo>
                    <a:lnTo>
                      <a:pt x="426" y="76"/>
                    </a:lnTo>
                    <a:close/>
                    <a:moveTo>
                      <a:pt x="308" y="76"/>
                    </a:moveTo>
                    <a:lnTo>
                      <a:pt x="362" y="76"/>
                    </a:lnTo>
                    <a:lnTo>
                      <a:pt x="362" y="142"/>
                    </a:lnTo>
                    <a:lnTo>
                      <a:pt x="308" y="142"/>
                    </a:lnTo>
                    <a:lnTo>
                      <a:pt x="308" y="76"/>
                    </a:lnTo>
                    <a:close/>
                    <a:moveTo>
                      <a:pt x="308" y="148"/>
                    </a:moveTo>
                    <a:lnTo>
                      <a:pt x="362" y="148"/>
                    </a:lnTo>
                    <a:lnTo>
                      <a:pt x="362" y="216"/>
                    </a:lnTo>
                    <a:lnTo>
                      <a:pt x="308" y="216"/>
                    </a:lnTo>
                    <a:lnTo>
                      <a:pt x="308" y="148"/>
                    </a:lnTo>
                    <a:close/>
                    <a:moveTo>
                      <a:pt x="308" y="223"/>
                    </a:moveTo>
                    <a:lnTo>
                      <a:pt x="362" y="223"/>
                    </a:lnTo>
                    <a:lnTo>
                      <a:pt x="362" y="288"/>
                    </a:lnTo>
                    <a:lnTo>
                      <a:pt x="308" y="288"/>
                    </a:lnTo>
                    <a:lnTo>
                      <a:pt x="308" y="223"/>
                    </a:lnTo>
                    <a:close/>
                    <a:moveTo>
                      <a:pt x="308" y="295"/>
                    </a:moveTo>
                    <a:lnTo>
                      <a:pt x="362" y="295"/>
                    </a:lnTo>
                    <a:lnTo>
                      <a:pt x="362" y="361"/>
                    </a:lnTo>
                    <a:lnTo>
                      <a:pt x="308" y="361"/>
                    </a:lnTo>
                    <a:lnTo>
                      <a:pt x="308" y="295"/>
                    </a:lnTo>
                    <a:close/>
                    <a:moveTo>
                      <a:pt x="308" y="368"/>
                    </a:moveTo>
                    <a:lnTo>
                      <a:pt x="362" y="368"/>
                    </a:lnTo>
                    <a:lnTo>
                      <a:pt x="362" y="435"/>
                    </a:lnTo>
                    <a:lnTo>
                      <a:pt x="308" y="435"/>
                    </a:lnTo>
                    <a:lnTo>
                      <a:pt x="308" y="368"/>
                    </a:lnTo>
                    <a:close/>
                    <a:moveTo>
                      <a:pt x="308" y="442"/>
                    </a:moveTo>
                    <a:lnTo>
                      <a:pt x="362" y="442"/>
                    </a:lnTo>
                    <a:lnTo>
                      <a:pt x="362" y="508"/>
                    </a:lnTo>
                    <a:lnTo>
                      <a:pt x="308" y="508"/>
                    </a:lnTo>
                    <a:lnTo>
                      <a:pt x="308" y="442"/>
                    </a:lnTo>
                    <a:close/>
                    <a:moveTo>
                      <a:pt x="308" y="514"/>
                    </a:moveTo>
                    <a:lnTo>
                      <a:pt x="362" y="514"/>
                    </a:lnTo>
                    <a:lnTo>
                      <a:pt x="362" y="580"/>
                    </a:lnTo>
                    <a:lnTo>
                      <a:pt x="308" y="580"/>
                    </a:lnTo>
                    <a:lnTo>
                      <a:pt x="308" y="514"/>
                    </a:lnTo>
                    <a:close/>
                    <a:moveTo>
                      <a:pt x="247" y="76"/>
                    </a:moveTo>
                    <a:lnTo>
                      <a:pt x="301" y="76"/>
                    </a:lnTo>
                    <a:lnTo>
                      <a:pt x="301" y="142"/>
                    </a:lnTo>
                    <a:lnTo>
                      <a:pt x="247" y="142"/>
                    </a:lnTo>
                    <a:lnTo>
                      <a:pt x="247" y="76"/>
                    </a:lnTo>
                    <a:close/>
                    <a:moveTo>
                      <a:pt x="247" y="148"/>
                    </a:moveTo>
                    <a:lnTo>
                      <a:pt x="301" y="148"/>
                    </a:lnTo>
                    <a:lnTo>
                      <a:pt x="301" y="216"/>
                    </a:lnTo>
                    <a:lnTo>
                      <a:pt x="247" y="216"/>
                    </a:lnTo>
                    <a:lnTo>
                      <a:pt x="247" y="148"/>
                    </a:lnTo>
                    <a:close/>
                    <a:moveTo>
                      <a:pt x="247" y="223"/>
                    </a:moveTo>
                    <a:lnTo>
                      <a:pt x="301" y="223"/>
                    </a:lnTo>
                    <a:lnTo>
                      <a:pt x="301" y="288"/>
                    </a:lnTo>
                    <a:lnTo>
                      <a:pt x="247" y="288"/>
                    </a:lnTo>
                    <a:lnTo>
                      <a:pt x="247" y="223"/>
                    </a:lnTo>
                    <a:close/>
                    <a:moveTo>
                      <a:pt x="247" y="295"/>
                    </a:moveTo>
                    <a:lnTo>
                      <a:pt x="301" y="295"/>
                    </a:lnTo>
                    <a:lnTo>
                      <a:pt x="301" y="361"/>
                    </a:lnTo>
                    <a:lnTo>
                      <a:pt x="247" y="361"/>
                    </a:lnTo>
                    <a:lnTo>
                      <a:pt x="247" y="295"/>
                    </a:lnTo>
                    <a:close/>
                    <a:moveTo>
                      <a:pt x="247" y="368"/>
                    </a:moveTo>
                    <a:lnTo>
                      <a:pt x="301" y="368"/>
                    </a:lnTo>
                    <a:lnTo>
                      <a:pt x="301" y="435"/>
                    </a:lnTo>
                    <a:lnTo>
                      <a:pt x="247" y="435"/>
                    </a:lnTo>
                    <a:lnTo>
                      <a:pt x="247" y="368"/>
                    </a:lnTo>
                    <a:close/>
                    <a:moveTo>
                      <a:pt x="247" y="442"/>
                    </a:moveTo>
                    <a:lnTo>
                      <a:pt x="301" y="442"/>
                    </a:lnTo>
                    <a:lnTo>
                      <a:pt x="301" y="508"/>
                    </a:lnTo>
                    <a:lnTo>
                      <a:pt x="247" y="508"/>
                    </a:lnTo>
                    <a:lnTo>
                      <a:pt x="247" y="442"/>
                    </a:lnTo>
                    <a:close/>
                    <a:moveTo>
                      <a:pt x="247" y="514"/>
                    </a:moveTo>
                    <a:lnTo>
                      <a:pt x="301" y="514"/>
                    </a:lnTo>
                    <a:lnTo>
                      <a:pt x="301" y="580"/>
                    </a:lnTo>
                    <a:lnTo>
                      <a:pt x="247" y="580"/>
                    </a:lnTo>
                    <a:lnTo>
                      <a:pt x="247" y="514"/>
                    </a:lnTo>
                    <a:close/>
                    <a:moveTo>
                      <a:pt x="301" y="587"/>
                    </a:moveTo>
                    <a:lnTo>
                      <a:pt x="301" y="654"/>
                    </a:lnTo>
                    <a:lnTo>
                      <a:pt x="247" y="654"/>
                    </a:lnTo>
                    <a:lnTo>
                      <a:pt x="247" y="587"/>
                    </a:lnTo>
                    <a:lnTo>
                      <a:pt x="301" y="587"/>
                    </a:lnTo>
                    <a:close/>
                    <a:moveTo>
                      <a:pt x="186" y="661"/>
                    </a:moveTo>
                    <a:lnTo>
                      <a:pt x="240" y="661"/>
                    </a:lnTo>
                    <a:lnTo>
                      <a:pt x="240" y="727"/>
                    </a:lnTo>
                    <a:lnTo>
                      <a:pt x="186" y="727"/>
                    </a:lnTo>
                    <a:lnTo>
                      <a:pt x="186" y="661"/>
                    </a:lnTo>
                    <a:close/>
                    <a:moveTo>
                      <a:pt x="179" y="727"/>
                    </a:moveTo>
                    <a:lnTo>
                      <a:pt x="125" y="727"/>
                    </a:lnTo>
                    <a:lnTo>
                      <a:pt x="125" y="661"/>
                    </a:lnTo>
                    <a:lnTo>
                      <a:pt x="179" y="661"/>
                    </a:lnTo>
                    <a:lnTo>
                      <a:pt x="179" y="727"/>
                    </a:lnTo>
                    <a:close/>
                    <a:moveTo>
                      <a:pt x="247" y="661"/>
                    </a:moveTo>
                    <a:lnTo>
                      <a:pt x="301" y="661"/>
                    </a:lnTo>
                    <a:lnTo>
                      <a:pt x="301" y="727"/>
                    </a:lnTo>
                    <a:lnTo>
                      <a:pt x="247" y="727"/>
                    </a:lnTo>
                    <a:lnTo>
                      <a:pt x="247" y="661"/>
                    </a:lnTo>
                    <a:close/>
                    <a:moveTo>
                      <a:pt x="186" y="76"/>
                    </a:moveTo>
                    <a:lnTo>
                      <a:pt x="240" y="76"/>
                    </a:lnTo>
                    <a:lnTo>
                      <a:pt x="240" y="142"/>
                    </a:lnTo>
                    <a:lnTo>
                      <a:pt x="186" y="142"/>
                    </a:lnTo>
                    <a:lnTo>
                      <a:pt x="186" y="76"/>
                    </a:lnTo>
                    <a:close/>
                    <a:moveTo>
                      <a:pt x="186" y="148"/>
                    </a:moveTo>
                    <a:lnTo>
                      <a:pt x="240" y="148"/>
                    </a:lnTo>
                    <a:lnTo>
                      <a:pt x="240" y="216"/>
                    </a:lnTo>
                    <a:lnTo>
                      <a:pt x="186" y="216"/>
                    </a:lnTo>
                    <a:lnTo>
                      <a:pt x="186" y="148"/>
                    </a:lnTo>
                    <a:close/>
                    <a:moveTo>
                      <a:pt x="186" y="223"/>
                    </a:moveTo>
                    <a:lnTo>
                      <a:pt x="240" y="223"/>
                    </a:lnTo>
                    <a:lnTo>
                      <a:pt x="240" y="288"/>
                    </a:lnTo>
                    <a:lnTo>
                      <a:pt x="186" y="288"/>
                    </a:lnTo>
                    <a:lnTo>
                      <a:pt x="186" y="223"/>
                    </a:lnTo>
                    <a:close/>
                    <a:moveTo>
                      <a:pt x="186" y="295"/>
                    </a:moveTo>
                    <a:lnTo>
                      <a:pt x="240" y="295"/>
                    </a:lnTo>
                    <a:lnTo>
                      <a:pt x="240" y="361"/>
                    </a:lnTo>
                    <a:lnTo>
                      <a:pt x="186" y="361"/>
                    </a:lnTo>
                    <a:lnTo>
                      <a:pt x="186" y="295"/>
                    </a:lnTo>
                    <a:close/>
                    <a:moveTo>
                      <a:pt x="186" y="368"/>
                    </a:moveTo>
                    <a:lnTo>
                      <a:pt x="240" y="368"/>
                    </a:lnTo>
                    <a:lnTo>
                      <a:pt x="240" y="435"/>
                    </a:lnTo>
                    <a:lnTo>
                      <a:pt x="186" y="435"/>
                    </a:lnTo>
                    <a:lnTo>
                      <a:pt x="186" y="368"/>
                    </a:lnTo>
                    <a:close/>
                    <a:moveTo>
                      <a:pt x="186" y="442"/>
                    </a:moveTo>
                    <a:lnTo>
                      <a:pt x="240" y="442"/>
                    </a:lnTo>
                    <a:lnTo>
                      <a:pt x="240" y="508"/>
                    </a:lnTo>
                    <a:lnTo>
                      <a:pt x="186" y="508"/>
                    </a:lnTo>
                    <a:lnTo>
                      <a:pt x="186" y="442"/>
                    </a:lnTo>
                    <a:close/>
                    <a:moveTo>
                      <a:pt x="186" y="514"/>
                    </a:moveTo>
                    <a:lnTo>
                      <a:pt x="240" y="514"/>
                    </a:lnTo>
                    <a:lnTo>
                      <a:pt x="240" y="580"/>
                    </a:lnTo>
                    <a:lnTo>
                      <a:pt x="186" y="580"/>
                    </a:lnTo>
                    <a:lnTo>
                      <a:pt x="186" y="514"/>
                    </a:lnTo>
                    <a:close/>
                    <a:moveTo>
                      <a:pt x="240" y="587"/>
                    </a:moveTo>
                    <a:lnTo>
                      <a:pt x="240" y="654"/>
                    </a:lnTo>
                    <a:lnTo>
                      <a:pt x="186" y="654"/>
                    </a:lnTo>
                    <a:lnTo>
                      <a:pt x="186" y="587"/>
                    </a:lnTo>
                    <a:lnTo>
                      <a:pt x="240" y="587"/>
                    </a:lnTo>
                    <a:close/>
                    <a:moveTo>
                      <a:pt x="125" y="76"/>
                    </a:moveTo>
                    <a:lnTo>
                      <a:pt x="179" y="76"/>
                    </a:lnTo>
                    <a:lnTo>
                      <a:pt x="179" y="142"/>
                    </a:lnTo>
                    <a:lnTo>
                      <a:pt x="125" y="142"/>
                    </a:lnTo>
                    <a:lnTo>
                      <a:pt x="125" y="76"/>
                    </a:lnTo>
                    <a:close/>
                    <a:moveTo>
                      <a:pt x="125" y="148"/>
                    </a:moveTo>
                    <a:lnTo>
                      <a:pt x="179" y="148"/>
                    </a:lnTo>
                    <a:lnTo>
                      <a:pt x="179" y="216"/>
                    </a:lnTo>
                    <a:lnTo>
                      <a:pt x="125" y="216"/>
                    </a:lnTo>
                    <a:lnTo>
                      <a:pt x="125" y="148"/>
                    </a:lnTo>
                    <a:close/>
                    <a:moveTo>
                      <a:pt x="125" y="223"/>
                    </a:moveTo>
                    <a:lnTo>
                      <a:pt x="179" y="223"/>
                    </a:lnTo>
                    <a:lnTo>
                      <a:pt x="179" y="288"/>
                    </a:lnTo>
                    <a:lnTo>
                      <a:pt x="125" y="288"/>
                    </a:lnTo>
                    <a:lnTo>
                      <a:pt x="125" y="223"/>
                    </a:lnTo>
                    <a:close/>
                    <a:moveTo>
                      <a:pt x="125" y="295"/>
                    </a:moveTo>
                    <a:lnTo>
                      <a:pt x="179" y="295"/>
                    </a:lnTo>
                    <a:lnTo>
                      <a:pt x="179" y="361"/>
                    </a:lnTo>
                    <a:lnTo>
                      <a:pt x="125" y="361"/>
                    </a:lnTo>
                    <a:lnTo>
                      <a:pt x="125" y="295"/>
                    </a:lnTo>
                    <a:close/>
                    <a:moveTo>
                      <a:pt x="125" y="368"/>
                    </a:moveTo>
                    <a:lnTo>
                      <a:pt x="179" y="368"/>
                    </a:lnTo>
                    <a:lnTo>
                      <a:pt x="179" y="435"/>
                    </a:lnTo>
                    <a:lnTo>
                      <a:pt x="125" y="435"/>
                    </a:lnTo>
                    <a:lnTo>
                      <a:pt x="125" y="368"/>
                    </a:lnTo>
                    <a:close/>
                    <a:moveTo>
                      <a:pt x="125" y="442"/>
                    </a:moveTo>
                    <a:lnTo>
                      <a:pt x="179" y="442"/>
                    </a:lnTo>
                    <a:lnTo>
                      <a:pt x="179" y="508"/>
                    </a:lnTo>
                    <a:lnTo>
                      <a:pt x="125" y="508"/>
                    </a:lnTo>
                    <a:lnTo>
                      <a:pt x="125" y="442"/>
                    </a:lnTo>
                    <a:close/>
                    <a:moveTo>
                      <a:pt x="125" y="514"/>
                    </a:moveTo>
                    <a:lnTo>
                      <a:pt x="179" y="514"/>
                    </a:lnTo>
                    <a:lnTo>
                      <a:pt x="179" y="580"/>
                    </a:lnTo>
                    <a:lnTo>
                      <a:pt x="125" y="580"/>
                    </a:lnTo>
                    <a:lnTo>
                      <a:pt x="125" y="514"/>
                    </a:lnTo>
                    <a:close/>
                    <a:moveTo>
                      <a:pt x="179" y="587"/>
                    </a:moveTo>
                    <a:lnTo>
                      <a:pt x="179" y="654"/>
                    </a:lnTo>
                    <a:lnTo>
                      <a:pt x="125" y="654"/>
                    </a:lnTo>
                    <a:lnTo>
                      <a:pt x="125" y="587"/>
                    </a:lnTo>
                    <a:lnTo>
                      <a:pt x="179" y="587"/>
                    </a:lnTo>
                    <a:close/>
                    <a:moveTo>
                      <a:pt x="64" y="76"/>
                    </a:moveTo>
                    <a:lnTo>
                      <a:pt x="119" y="76"/>
                    </a:lnTo>
                    <a:lnTo>
                      <a:pt x="119" y="142"/>
                    </a:lnTo>
                    <a:lnTo>
                      <a:pt x="64" y="142"/>
                    </a:lnTo>
                    <a:lnTo>
                      <a:pt x="64" y="76"/>
                    </a:lnTo>
                    <a:close/>
                    <a:moveTo>
                      <a:pt x="64" y="148"/>
                    </a:moveTo>
                    <a:lnTo>
                      <a:pt x="119" y="148"/>
                    </a:lnTo>
                    <a:lnTo>
                      <a:pt x="119" y="216"/>
                    </a:lnTo>
                    <a:lnTo>
                      <a:pt x="64" y="216"/>
                    </a:lnTo>
                    <a:lnTo>
                      <a:pt x="64" y="148"/>
                    </a:lnTo>
                    <a:close/>
                    <a:moveTo>
                      <a:pt x="64" y="223"/>
                    </a:moveTo>
                    <a:lnTo>
                      <a:pt x="119" y="223"/>
                    </a:lnTo>
                    <a:lnTo>
                      <a:pt x="119" y="288"/>
                    </a:lnTo>
                    <a:lnTo>
                      <a:pt x="64" y="288"/>
                    </a:lnTo>
                    <a:lnTo>
                      <a:pt x="64" y="223"/>
                    </a:lnTo>
                    <a:close/>
                    <a:moveTo>
                      <a:pt x="64" y="295"/>
                    </a:moveTo>
                    <a:lnTo>
                      <a:pt x="119" y="295"/>
                    </a:lnTo>
                    <a:lnTo>
                      <a:pt x="119" y="361"/>
                    </a:lnTo>
                    <a:lnTo>
                      <a:pt x="64" y="361"/>
                    </a:lnTo>
                    <a:lnTo>
                      <a:pt x="64" y="295"/>
                    </a:lnTo>
                    <a:close/>
                    <a:moveTo>
                      <a:pt x="64" y="368"/>
                    </a:moveTo>
                    <a:lnTo>
                      <a:pt x="119" y="368"/>
                    </a:lnTo>
                    <a:lnTo>
                      <a:pt x="119" y="435"/>
                    </a:lnTo>
                    <a:lnTo>
                      <a:pt x="64" y="435"/>
                    </a:lnTo>
                    <a:lnTo>
                      <a:pt x="64" y="368"/>
                    </a:lnTo>
                    <a:close/>
                    <a:moveTo>
                      <a:pt x="64" y="442"/>
                    </a:moveTo>
                    <a:lnTo>
                      <a:pt x="119" y="442"/>
                    </a:lnTo>
                    <a:lnTo>
                      <a:pt x="119" y="508"/>
                    </a:lnTo>
                    <a:lnTo>
                      <a:pt x="64" y="508"/>
                    </a:lnTo>
                    <a:lnTo>
                      <a:pt x="64" y="442"/>
                    </a:lnTo>
                    <a:close/>
                    <a:moveTo>
                      <a:pt x="64" y="514"/>
                    </a:moveTo>
                    <a:lnTo>
                      <a:pt x="119" y="514"/>
                    </a:lnTo>
                    <a:lnTo>
                      <a:pt x="119" y="580"/>
                    </a:lnTo>
                    <a:lnTo>
                      <a:pt x="64" y="580"/>
                    </a:lnTo>
                    <a:lnTo>
                      <a:pt x="64" y="514"/>
                    </a:lnTo>
                    <a:close/>
                    <a:moveTo>
                      <a:pt x="64" y="587"/>
                    </a:moveTo>
                    <a:lnTo>
                      <a:pt x="119" y="587"/>
                    </a:lnTo>
                    <a:lnTo>
                      <a:pt x="119" y="654"/>
                    </a:lnTo>
                    <a:lnTo>
                      <a:pt x="64" y="654"/>
                    </a:lnTo>
                    <a:lnTo>
                      <a:pt x="64" y="587"/>
                    </a:lnTo>
                    <a:close/>
                    <a:moveTo>
                      <a:pt x="64" y="661"/>
                    </a:moveTo>
                    <a:lnTo>
                      <a:pt x="119" y="661"/>
                    </a:lnTo>
                    <a:lnTo>
                      <a:pt x="119" y="727"/>
                    </a:lnTo>
                    <a:lnTo>
                      <a:pt x="64" y="727"/>
                    </a:lnTo>
                    <a:lnTo>
                      <a:pt x="64" y="661"/>
                    </a:lnTo>
                    <a:close/>
                    <a:moveTo>
                      <a:pt x="64" y="799"/>
                    </a:moveTo>
                    <a:lnTo>
                      <a:pt x="64" y="733"/>
                    </a:lnTo>
                    <a:lnTo>
                      <a:pt x="119" y="733"/>
                    </a:lnTo>
                    <a:lnTo>
                      <a:pt x="119" y="799"/>
                    </a:lnTo>
                    <a:lnTo>
                      <a:pt x="64" y="799"/>
                    </a:lnTo>
                    <a:close/>
                    <a:moveTo>
                      <a:pt x="125" y="799"/>
                    </a:moveTo>
                    <a:lnTo>
                      <a:pt x="125" y="733"/>
                    </a:lnTo>
                    <a:lnTo>
                      <a:pt x="179" y="733"/>
                    </a:lnTo>
                    <a:lnTo>
                      <a:pt x="179" y="799"/>
                    </a:lnTo>
                    <a:lnTo>
                      <a:pt x="125" y="799"/>
                    </a:lnTo>
                    <a:close/>
                    <a:moveTo>
                      <a:pt x="186" y="799"/>
                    </a:moveTo>
                    <a:lnTo>
                      <a:pt x="186" y="733"/>
                    </a:lnTo>
                    <a:lnTo>
                      <a:pt x="240" y="733"/>
                    </a:lnTo>
                    <a:lnTo>
                      <a:pt x="240" y="799"/>
                    </a:lnTo>
                    <a:lnTo>
                      <a:pt x="186" y="799"/>
                    </a:lnTo>
                    <a:close/>
                    <a:moveTo>
                      <a:pt x="247" y="799"/>
                    </a:moveTo>
                    <a:lnTo>
                      <a:pt x="247" y="733"/>
                    </a:lnTo>
                    <a:lnTo>
                      <a:pt x="301" y="733"/>
                    </a:lnTo>
                    <a:lnTo>
                      <a:pt x="301" y="799"/>
                    </a:lnTo>
                    <a:lnTo>
                      <a:pt x="247" y="799"/>
                    </a:lnTo>
                    <a:close/>
                    <a:moveTo>
                      <a:pt x="362" y="799"/>
                    </a:moveTo>
                    <a:lnTo>
                      <a:pt x="308" y="799"/>
                    </a:lnTo>
                    <a:lnTo>
                      <a:pt x="308" y="733"/>
                    </a:lnTo>
                    <a:lnTo>
                      <a:pt x="362" y="733"/>
                    </a:lnTo>
                    <a:lnTo>
                      <a:pt x="362" y="799"/>
                    </a:lnTo>
                    <a:close/>
                    <a:moveTo>
                      <a:pt x="362" y="727"/>
                    </a:moveTo>
                    <a:lnTo>
                      <a:pt x="308" y="727"/>
                    </a:lnTo>
                    <a:lnTo>
                      <a:pt x="308" y="661"/>
                    </a:lnTo>
                    <a:lnTo>
                      <a:pt x="362" y="661"/>
                    </a:lnTo>
                    <a:lnTo>
                      <a:pt x="362" y="727"/>
                    </a:lnTo>
                    <a:close/>
                    <a:moveTo>
                      <a:pt x="308" y="654"/>
                    </a:moveTo>
                    <a:lnTo>
                      <a:pt x="308" y="587"/>
                    </a:lnTo>
                    <a:lnTo>
                      <a:pt x="362" y="587"/>
                    </a:lnTo>
                    <a:lnTo>
                      <a:pt x="362" y="654"/>
                    </a:lnTo>
                    <a:lnTo>
                      <a:pt x="308" y="654"/>
                    </a:lnTo>
                    <a:close/>
                  </a:path>
                </a:pathLst>
              </a:custGeom>
              <a:solidFill>
                <a:srgbClr val="BECDD7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ADBECB"/>
                  </a:solidFill>
                </a:endParaRPr>
              </a:p>
            </p:txBody>
          </p:sp>
        </p:grpSp>
        <p:sp>
          <p:nvSpPr>
            <p:cNvPr id="262" name="Freeform 68"/>
            <p:cNvSpPr>
              <a:spLocks/>
            </p:cNvSpPr>
            <p:nvPr/>
          </p:nvSpPr>
          <p:spPr bwMode="gray">
            <a:xfrm>
              <a:off x="7427553" y="5372297"/>
              <a:ext cx="139313" cy="472669"/>
            </a:xfrm>
            <a:custGeom>
              <a:avLst/>
              <a:gdLst>
                <a:gd name="T0" fmla="*/ 77 w 80"/>
                <a:gd name="T1" fmla="*/ 147 h 278"/>
                <a:gd name="T2" fmla="*/ 68 w 80"/>
                <a:gd name="T3" fmla="*/ 128 h 278"/>
                <a:gd name="T4" fmla="*/ 76 w 80"/>
                <a:gd name="T5" fmla="*/ 102 h 278"/>
                <a:gd name="T6" fmla="*/ 65 w 80"/>
                <a:gd name="T7" fmla="*/ 80 h 278"/>
                <a:gd name="T8" fmla="*/ 66 w 80"/>
                <a:gd name="T9" fmla="*/ 51 h 278"/>
                <a:gd name="T10" fmla="*/ 55 w 80"/>
                <a:gd name="T11" fmla="*/ 37 h 278"/>
                <a:gd name="T12" fmla="*/ 42 w 80"/>
                <a:gd name="T13" fmla="*/ 1 h 278"/>
                <a:gd name="T14" fmla="*/ 30 w 80"/>
                <a:gd name="T15" fmla="*/ 26 h 278"/>
                <a:gd name="T16" fmla="*/ 15 w 80"/>
                <a:gd name="T17" fmla="*/ 38 h 278"/>
                <a:gd name="T18" fmla="*/ 21 w 80"/>
                <a:gd name="T19" fmla="*/ 70 h 278"/>
                <a:gd name="T20" fmla="*/ 10 w 80"/>
                <a:gd name="T21" fmla="*/ 81 h 278"/>
                <a:gd name="T22" fmla="*/ 16 w 80"/>
                <a:gd name="T23" fmla="*/ 107 h 278"/>
                <a:gd name="T24" fmla="*/ 5 w 80"/>
                <a:gd name="T25" fmla="*/ 136 h 278"/>
                <a:gd name="T26" fmla="*/ 13 w 80"/>
                <a:gd name="T27" fmla="*/ 168 h 278"/>
                <a:gd name="T28" fmla="*/ 13 w 80"/>
                <a:gd name="T29" fmla="*/ 197 h 278"/>
                <a:gd name="T30" fmla="*/ 32 w 80"/>
                <a:gd name="T31" fmla="*/ 223 h 278"/>
                <a:gd name="T32" fmla="*/ 26 w 80"/>
                <a:gd name="T33" fmla="*/ 277 h 278"/>
                <a:gd name="T34" fmla="*/ 42 w 80"/>
                <a:gd name="T35" fmla="*/ 278 h 278"/>
                <a:gd name="T36" fmla="*/ 41 w 80"/>
                <a:gd name="T37" fmla="*/ 253 h 278"/>
                <a:gd name="T38" fmla="*/ 46 w 80"/>
                <a:gd name="T39" fmla="*/ 224 h 278"/>
                <a:gd name="T40" fmla="*/ 62 w 80"/>
                <a:gd name="T41" fmla="*/ 206 h 278"/>
                <a:gd name="T42" fmla="*/ 63 w 80"/>
                <a:gd name="T43" fmla="*/ 180 h 278"/>
                <a:gd name="T44" fmla="*/ 77 w 80"/>
                <a:gd name="T45" fmla="*/ 147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78">
                  <a:moveTo>
                    <a:pt x="77" y="147"/>
                  </a:moveTo>
                  <a:cubicBezTo>
                    <a:pt x="80" y="125"/>
                    <a:pt x="68" y="128"/>
                    <a:pt x="68" y="128"/>
                  </a:cubicBezTo>
                  <a:cubicBezTo>
                    <a:pt x="68" y="128"/>
                    <a:pt x="74" y="123"/>
                    <a:pt x="76" y="102"/>
                  </a:cubicBezTo>
                  <a:cubicBezTo>
                    <a:pt x="78" y="83"/>
                    <a:pt x="65" y="80"/>
                    <a:pt x="65" y="80"/>
                  </a:cubicBezTo>
                  <a:cubicBezTo>
                    <a:pt x="65" y="80"/>
                    <a:pt x="67" y="66"/>
                    <a:pt x="66" y="51"/>
                  </a:cubicBezTo>
                  <a:cubicBezTo>
                    <a:pt x="64" y="35"/>
                    <a:pt x="55" y="37"/>
                    <a:pt x="55" y="37"/>
                  </a:cubicBezTo>
                  <a:cubicBezTo>
                    <a:pt x="55" y="37"/>
                    <a:pt x="56" y="0"/>
                    <a:pt x="42" y="1"/>
                  </a:cubicBezTo>
                  <a:cubicBezTo>
                    <a:pt x="28" y="2"/>
                    <a:pt x="30" y="26"/>
                    <a:pt x="30" y="26"/>
                  </a:cubicBezTo>
                  <a:cubicBezTo>
                    <a:pt x="25" y="20"/>
                    <a:pt x="19" y="26"/>
                    <a:pt x="15" y="38"/>
                  </a:cubicBezTo>
                  <a:cubicBezTo>
                    <a:pt x="10" y="60"/>
                    <a:pt x="21" y="70"/>
                    <a:pt x="21" y="70"/>
                  </a:cubicBezTo>
                  <a:cubicBezTo>
                    <a:pt x="21" y="70"/>
                    <a:pt x="12" y="66"/>
                    <a:pt x="10" y="81"/>
                  </a:cubicBezTo>
                  <a:cubicBezTo>
                    <a:pt x="8" y="98"/>
                    <a:pt x="16" y="107"/>
                    <a:pt x="16" y="107"/>
                  </a:cubicBezTo>
                  <a:cubicBezTo>
                    <a:pt x="16" y="107"/>
                    <a:pt x="3" y="113"/>
                    <a:pt x="5" y="136"/>
                  </a:cubicBezTo>
                  <a:cubicBezTo>
                    <a:pt x="6" y="154"/>
                    <a:pt x="13" y="168"/>
                    <a:pt x="13" y="168"/>
                  </a:cubicBezTo>
                  <a:cubicBezTo>
                    <a:pt x="13" y="168"/>
                    <a:pt x="0" y="178"/>
                    <a:pt x="13" y="197"/>
                  </a:cubicBezTo>
                  <a:cubicBezTo>
                    <a:pt x="19" y="206"/>
                    <a:pt x="27" y="212"/>
                    <a:pt x="32" y="223"/>
                  </a:cubicBezTo>
                  <a:cubicBezTo>
                    <a:pt x="23" y="251"/>
                    <a:pt x="26" y="277"/>
                    <a:pt x="26" y="277"/>
                  </a:cubicBezTo>
                  <a:cubicBezTo>
                    <a:pt x="42" y="278"/>
                    <a:pt x="42" y="278"/>
                    <a:pt x="42" y="278"/>
                  </a:cubicBezTo>
                  <a:cubicBezTo>
                    <a:pt x="42" y="278"/>
                    <a:pt x="41" y="268"/>
                    <a:pt x="41" y="253"/>
                  </a:cubicBezTo>
                  <a:cubicBezTo>
                    <a:pt x="41" y="242"/>
                    <a:pt x="42" y="233"/>
                    <a:pt x="46" y="224"/>
                  </a:cubicBezTo>
                  <a:cubicBezTo>
                    <a:pt x="51" y="219"/>
                    <a:pt x="58" y="210"/>
                    <a:pt x="62" y="206"/>
                  </a:cubicBezTo>
                  <a:cubicBezTo>
                    <a:pt x="72" y="194"/>
                    <a:pt x="71" y="185"/>
                    <a:pt x="63" y="180"/>
                  </a:cubicBezTo>
                  <a:cubicBezTo>
                    <a:pt x="69" y="174"/>
                    <a:pt x="73" y="169"/>
                    <a:pt x="77" y="147"/>
                  </a:cubicBezTo>
                  <a:close/>
                </a:path>
              </a:pathLst>
            </a:custGeom>
            <a:solidFill>
              <a:srgbClr val="CDD9E1"/>
            </a:solidFill>
            <a:ln w="19050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63" name="Rectangle 252"/>
            <p:cNvSpPr>
              <a:spLocks noChangeArrowheads="1"/>
            </p:cNvSpPr>
            <p:nvPr/>
          </p:nvSpPr>
          <p:spPr bwMode="gray">
            <a:xfrm>
              <a:off x="6726238" y="5676531"/>
              <a:ext cx="225425" cy="16351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ADBECB"/>
                </a:solidFill>
              </a:endParaRPr>
            </a:p>
          </p:txBody>
        </p:sp>
        <p:sp>
          <p:nvSpPr>
            <p:cNvPr id="264" name="Rectangle 248"/>
            <p:cNvSpPr>
              <a:spLocks noChangeArrowheads="1"/>
            </p:cNvSpPr>
            <p:nvPr/>
          </p:nvSpPr>
          <p:spPr bwMode="gray">
            <a:xfrm>
              <a:off x="627063" y="5845465"/>
              <a:ext cx="11106149" cy="66146"/>
            </a:xfrm>
            <a:prstGeom prst="rect">
              <a:avLst/>
            </a:prstGeom>
            <a:solidFill>
              <a:srgbClr val="DFE6ED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8" name="Rechteck 267"/>
          <p:cNvSpPr>
            <a:spLocks/>
          </p:cNvSpPr>
          <p:nvPr/>
        </p:nvSpPr>
        <p:spPr bwMode="gray">
          <a:xfrm>
            <a:off x="6347096" y="1601578"/>
            <a:ext cx="5468984" cy="2319588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/>
          <a:extLst/>
        </p:spPr>
        <p:txBody>
          <a:bodyPr wrap="square" lIns="72000" tIns="72000" rIns="72000" bIns="72000" numCol="1" spcCol="72000" rtlCol="0" anchor="b">
            <a:noAutofit/>
          </a:bodyPr>
          <a:lstStyle/>
          <a:p>
            <a:pPr algn="ctr">
              <a:spcBef>
                <a:spcPts val="0"/>
              </a:spcBef>
            </a:pPr>
            <a:endParaRPr lang="en-US" sz="1000" dirty="0" err="1">
              <a:solidFill>
                <a:schemeClr val="bg1"/>
              </a:solidFill>
              <a:ea typeface="Arial Unicode MS" panose="020B0604020202020204" pitchFamily="34" charset="-128"/>
            </a:endParaRPr>
          </a:p>
        </p:txBody>
      </p:sp>
      <p:sp>
        <p:nvSpPr>
          <p:cNvPr id="269" name="Joined 5"/>
          <p:cNvSpPr txBox="1">
            <a:spLocks noChangeArrowheads="1"/>
          </p:cNvSpPr>
          <p:nvPr/>
        </p:nvSpPr>
        <p:spPr bwMode="gray">
          <a:xfrm>
            <a:off x="6347095" y="4073566"/>
            <a:ext cx="5468985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numCol="1" anchor="t" anchorCtr="0">
            <a:spAutoFit/>
          </a:bodyPr>
          <a:lstStyle/>
          <a:p>
            <a:pPr marL="0" lvl="1">
              <a:spcBef>
                <a:spcPct val="0"/>
              </a:spcBef>
              <a:spcAft>
                <a:spcPts val="300"/>
              </a:spcAft>
              <a:buClr>
                <a:srgbClr val="879BAA"/>
              </a:buClr>
              <a:buSzPct val="100000"/>
            </a:pPr>
            <a:r>
              <a:rPr lang="en-US" sz="2800" dirty="0">
                <a:solidFill>
                  <a:srgbClr val="4BB9B9"/>
                </a:solidFill>
                <a:latin typeface="Arial" charset="0"/>
                <a:ea typeface="Arial Unicode MS"/>
              </a:rPr>
              <a:t>Since 1965: </a:t>
            </a:r>
            <a:r>
              <a:rPr lang="en-US" sz="2800" dirty="0">
                <a:solidFill>
                  <a:schemeClr val="bg1"/>
                </a:solidFill>
                <a:latin typeface="Arial" charset="0"/>
                <a:ea typeface="Arial Unicode MS"/>
              </a:rPr>
              <a:t>The d</a:t>
            </a:r>
            <a:r>
              <a:rPr lang="en-US" sz="2800" dirty="0">
                <a:solidFill>
                  <a:schemeClr val="bg1"/>
                </a:solidFill>
              </a:rPr>
              <a:t>istance travelled per person has increased by </a:t>
            </a:r>
            <a:r>
              <a:rPr lang="en-US" sz="2800" dirty="0">
                <a:solidFill>
                  <a:srgbClr val="4BB9B9"/>
                </a:solidFill>
              </a:rPr>
              <a:t>70%</a:t>
            </a:r>
            <a:r>
              <a:rPr lang="en-US" sz="2800" dirty="0">
                <a:solidFill>
                  <a:schemeClr val="bg1"/>
                </a:solidFill>
              </a:rPr>
              <a:t> in the UK.</a:t>
            </a:r>
            <a:endParaRPr lang="en-US" sz="2800" dirty="0">
              <a:solidFill>
                <a:schemeClr val="bg1"/>
              </a:solidFill>
              <a:latin typeface="Arial" charset="0"/>
              <a:ea typeface="Arial Unicode MS"/>
            </a:endParaRPr>
          </a:p>
        </p:txBody>
      </p:sp>
      <p:sp>
        <p:nvSpPr>
          <p:cNvPr id="270" name="Rechteck 269"/>
          <p:cNvSpPr/>
          <p:nvPr/>
        </p:nvSpPr>
        <p:spPr bwMode="gray">
          <a:xfrm>
            <a:off x="6347096" y="1761437"/>
            <a:ext cx="5468984" cy="553998"/>
          </a:xfrm>
          <a:prstGeom prst="rect">
            <a:avLst/>
          </a:prstGeom>
        </p:spPr>
        <p:txBody>
          <a:bodyPr wrap="square" lIns="144000" tIns="0" rIns="0" bIns="0">
            <a:spAutoFit/>
          </a:bodyPr>
          <a:lstStyle/>
          <a:p>
            <a:pPr marL="180975" lvl="0" indent="-180975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Pct val="100000"/>
            </a:pPr>
            <a:r>
              <a:rPr lang="en-US" sz="3600" dirty="0">
                <a:solidFill>
                  <a:schemeClr val="bg1"/>
                </a:solidFill>
                <a:latin typeface="Arial" charset="0"/>
                <a:ea typeface="Arial Unicode MS"/>
              </a:rPr>
              <a:t>Travel distance increases</a:t>
            </a:r>
            <a:endParaRPr lang="en-US" dirty="0">
              <a:solidFill>
                <a:schemeClr val="bg1"/>
              </a:solidFill>
              <a:latin typeface="Arial" charset="0"/>
              <a:ea typeface="Arial Unicode MS"/>
            </a:endParaRPr>
          </a:p>
        </p:txBody>
      </p:sp>
      <p:grpSp>
        <p:nvGrpSpPr>
          <p:cNvPr id="38" name="Gruppieren 184"/>
          <p:cNvGrpSpPr/>
          <p:nvPr/>
        </p:nvGrpSpPr>
        <p:grpSpPr bwMode="gray">
          <a:xfrm>
            <a:off x="8733877" y="2433133"/>
            <a:ext cx="257723" cy="566155"/>
            <a:chOff x="7476281" y="1600662"/>
            <a:chExt cx="1318015" cy="4149732"/>
          </a:xfrm>
          <a:solidFill>
            <a:srgbClr val="FFFFFF"/>
          </a:solidFill>
        </p:grpSpPr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7763934" y="1600662"/>
              <a:ext cx="745068" cy="745066"/>
            </a:xfrm>
            <a:custGeom>
              <a:avLst/>
              <a:gdLst>
                <a:gd name="T0" fmla="*/ 632 w 632"/>
                <a:gd name="T1" fmla="*/ 316 h 632"/>
                <a:gd name="T2" fmla="*/ 624 w 632"/>
                <a:gd name="T3" fmla="*/ 252 h 632"/>
                <a:gd name="T4" fmla="*/ 606 w 632"/>
                <a:gd name="T5" fmla="*/ 192 h 632"/>
                <a:gd name="T6" fmla="*/ 578 w 632"/>
                <a:gd name="T7" fmla="*/ 138 h 632"/>
                <a:gd name="T8" fmla="*/ 538 w 632"/>
                <a:gd name="T9" fmla="*/ 92 h 632"/>
                <a:gd name="T10" fmla="*/ 492 w 632"/>
                <a:gd name="T11" fmla="*/ 54 h 632"/>
                <a:gd name="T12" fmla="*/ 438 w 632"/>
                <a:gd name="T13" fmla="*/ 24 h 632"/>
                <a:gd name="T14" fmla="*/ 380 w 632"/>
                <a:gd name="T15" fmla="*/ 6 h 632"/>
                <a:gd name="T16" fmla="*/ 316 w 632"/>
                <a:gd name="T17" fmla="*/ 0 h 632"/>
                <a:gd name="T18" fmla="*/ 284 w 632"/>
                <a:gd name="T19" fmla="*/ 0 h 632"/>
                <a:gd name="T20" fmla="*/ 222 w 632"/>
                <a:gd name="T21" fmla="*/ 14 h 632"/>
                <a:gd name="T22" fmla="*/ 164 w 632"/>
                <a:gd name="T23" fmla="*/ 38 h 632"/>
                <a:gd name="T24" fmla="*/ 114 w 632"/>
                <a:gd name="T25" fmla="*/ 72 h 632"/>
                <a:gd name="T26" fmla="*/ 72 w 632"/>
                <a:gd name="T27" fmla="*/ 114 h 632"/>
                <a:gd name="T28" fmla="*/ 38 w 632"/>
                <a:gd name="T29" fmla="*/ 164 h 632"/>
                <a:gd name="T30" fmla="*/ 14 w 632"/>
                <a:gd name="T31" fmla="*/ 222 h 632"/>
                <a:gd name="T32" fmla="*/ 0 w 632"/>
                <a:gd name="T33" fmla="*/ 284 h 632"/>
                <a:gd name="T34" fmla="*/ 0 w 632"/>
                <a:gd name="T35" fmla="*/ 316 h 632"/>
                <a:gd name="T36" fmla="*/ 6 w 632"/>
                <a:gd name="T37" fmla="*/ 380 h 632"/>
                <a:gd name="T38" fmla="*/ 24 w 632"/>
                <a:gd name="T39" fmla="*/ 438 h 632"/>
                <a:gd name="T40" fmla="*/ 54 w 632"/>
                <a:gd name="T41" fmla="*/ 492 h 632"/>
                <a:gd name="T42" fmla="*/ 92 w 632"/>
                <a:gd name="T43" fmla="*/ 538 h 632"/>
                <a:gd name="T44" fmla="*/ 138 w 632"/>
                <a:gd name="T45" fmla="*/ 578 h 632"/>
                <a:gd name="T46" fmla="*/ 192 w 632"/>
                <a:gd name="T47" fmla="*/ 606 h 632"/>
                <a:gd name="T48" fmla="*/ 252 w 632"/>
                <a:gd name="T49" fmla="*/ 624 h 632"/>
                <a:gd name="T50" fmla="*/ 316 w 632"/>
                <a:gd name="T51" fmla="*/ 632 h 632"/>
                <a:gd name="T52" fmla="*/ 348 w 632"/>
                <a:gd name="T53" fmla="*/ 630 h 632"/>
                <a:gd name="T54" fmla="*/ 410 w 632"/>
                <a:gd name="T55" fmla="*/ 618 h 632"/>
                <a:gd name="T56" fmla="*/ 466 w 632"/>
                <a:gd name="T57" fmla="*/ 594 h 632"/>
                <a:gd name="T58" fmla="*/ 516 w 632"/>
                <a:gd name="T59" fmla="*/ 560 h 632"/>
                <a:gd name="T60" fmla="*/ 560 w 632"/>
                <a:gd name="T61" fmla="*/ 516 h 632"/>
                <a:gd name="T62" fmla="*/ 594 w 632"/>
                <a:gd name="T63" fmla="*/ 466 h 632"/>
                <a:gd name="T64" fmla="*/ 618 w 632"/>
                <a:gd name="T65" fmla="*/ 410 h 632"/>
                <a:gd name="T66" fmla="*/ 630 w 632"/>
                <a:gd name="T67" fmla="*/ 348 h 632"/>
                <a:gd name="T68" fmla="*/ 632 w 632"/>
                <a:gd name="T69" fmla="*/ 316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2" h="632">
                  <a:moveTo>
                    <a:pt x="632" y="316"/>
                  </a:moveTo>
                  <a:lnTo>
                    <a:pt x="632" y="316"/>
                  </a:lnTo>
                  <a:lnTo>
                    <a:pt x="630" y="284"/>
                  </a:lnTo>
                  <a:lnTo>
                    <a:pt x="624" y="252"/>
                  </a:lnTo>
                  <a:lnTo>
                    <a:pt x="618" y="222"/>
                  </a:lnTo>
                  <a:lnTo>
                    <a:pt x="606" y="192"/>
                  </a:lnTo>
                  <a:lnTo>
                    <a:pt x="594" y="164"/>
                  </a:lnTo>
                  <a:lnTo>
                    <a:pt x="578" y="138"/>
                  </a:lnTo>
                  <a:lnTo>
                    <a:pt x="560" y="114"/>
                  </a:lnTo>
                  <a:lnTo>
                    <a:pt x="538" y="92"/>
                  </a:lnTo>
                  <a:lnTo>
                    <a:pt x="516" y="72"/>
                  </a:lnTo>
                  <a:lnTo>
                    <a:pt x="492" y="54"/>
                  </a:lnTo>
                  <a:lnTo>
                    <a:pt x="466" y="38"/>
                  </a:lnTo>
                  <a:lnTo>
                    <a:pt x="438" y="24"/>
                  </a:lnTo>
                  <a:lnTo>
                    <a:pt x="410" y="14"/>
                  </a:lnTo>
                  <a:lnTo>
                    <a:pt x="380" y="6"/>
                  </a:lnTo>
                  <a:lnTo>
                    <a:pt x="348" y="0"/>
                  </a:lnTo>
                  <a:lnTo>
                    <a:pt x="316" y="0"/>
                  </a:lnTo>
                  <a:lnTo>
                    <a:pt x="316" y="0"/>
                  </a:lnTo>
                  <a:lnTo>
                    <a:pt x="284" y="0"/>
                  </a:lnTo>
                  <a:lnTo>
                    <a:pt x="252" y="6"/>
                  </a:lnTo>
                  <a:lnTo>
                    <a:pt x="222" y="14"/>
                  </a:lnTo>
                  <a:lnTo>
                    <a:pt x="192" y="24"/>
                  </a:lnTo>
                  <a:lnTo>
                    <a:pt x="164" y="38"/>
                  </a:lnTo>
                  <a:lnTo>
                    <a:pt x="138" y="54"/>
                  </a:lnTo>
                  <a:lnTo>
                    <a:pt x="114" y="72"/>
                  </a:lnTo>
                  <a:lnTo>
                    <a:pt x="92" y="92"/>
                  </a:lnTo>
                  <a:lnTo>
                    <a:pt x="72" y="114"/>
                  </a:lnTo>
                  <a:lnTo>
                    <a:pt x="54" y="138"/>
                  </a:lnTo>
                  <a:lnTo>
                    <a:pt x="38" y="164"/>
                  </a:lnTo>
                  <a:lnTo>
                    <a:pt x="24" y="192"/>
                  </a:lnTo>
                  <a:lnTo>
                    <a:pt x="14" y="222"/>
                  </a:lnTo>
                  <a:lnTo>
                    <a:pt x="6" y="252"/>
                  </a:lnTo>
                  <a:lnTo>
                    <a:pt x="0" y="284"/>
                  </a:lnTo>
                  <a:lnTo>
                    <a:pt x="0" y="316"/>
                  </a:lnTo>
                  <a:lnTo>
                    <a:pt x="0" y="316"/>
                  </a:lnTo>
                  <a:lnTo>
                    <a:pt x="0" y="348"/>
                  </a:lnTo>
                  <a:lnTo>
                    <a:pt x="6" y="380"/>
                  </a:lnTo>
                  <a:lnTo>
                    <a:pt x="14" y="410"/>
                  </a:lnTo>
                  <a:lnTo>
                    <a:pt x="24" y="438"/>
                  </a:lnTo>
                  <a:lnTo>
                    <a:pt x="38" y="466"/>
                  </a:lnTo>
                  <a:lnTo>
                    <a:pt x="54" y="492"/>
                  </a:lnTo>
                  <a:lnTo>
                    <a:pt x="72" y="516"/>
                  </a:lnTo>
                  <a:lnTo>
                    <a:pt x="92" y="538"/>
                  </a:lnTo>
                  <a:lnTo>
                    <a:pt x="114" y="560"/>
                  </a:lnTo>
                  <a:lnTo>
                    <a:pt x="138" y="578"/>
                  </a:lnTo>
                  <a:lnTo>
                    <a:pt x="164" y="594"/>
                  </a:lnTo>
                  <a:lnTo>
                    <a:pt x="192" y="606"/>
                  </a:lnTo>
                  <a:lnTo>
                    <a:pt x="222" y="618"/>
                  </a:lnTo>
                  <a:lnTo>
                    <a:pt x="252" y="624"/>
                  </a:lnTo>
                  <a:lnTo>
                    <a:pt x="284" y="630"/>
                  </a:lnTo>
                  <a:lnTo>
                    <a:pt x="316" y="632"/>
                  </a:lnTo>
                  <a:lnTo>
                    <a:pt x="316" y="632"/>
                  </a:lnTo>
                  <a:lnTo>
                    <a:pt x="348" y="630"/>
                  </a:lnTo>
                  <a:lnTo>
                    <a:pt x="380" y="624"/>
                  </a:lnTo>
                  <a:lnTo>
                    <a:pt x="410" y="618"/>
                  </a:lnTo>
                  <a:lnTo>
                    <a:pt x="438" y="606"/>
                  </a:lnTo>
                  <a:lnTo>
                    <a:pt x="466" y="594"/>
                  </a:lnTo>
                  <a:lnTo>
                    <a:pt x="492" y="578"/>
                  </a:lnTo>
                  <a:lnTo>
                    <a:pt x="516" y="560"/>
                  </a:lnTo>
                  <a:lnTo>
                    <a:pt x="538" y="538"/>
                  </a:lnTo>
                  <a:lnTo>
                    <a:pt x="560" y="516"/>
                  </a:lnTo>
                  <a:lnTo>
                    <a:pt x="578" y="492"/>
                  </a:lnTo>
                  <a:lnTo>
                    <a:pt x="594" y="466"/>
                  </a:lnTo>
                  <a:lnTo>
                    <a:pt x="606" y="438"/>
                  </a:lnTo>
                  <a:lnTo>
                    <a:pt x="618" y="410"/>
                  </a:lnTo>
                  <a:lnTo>
                    <a:pt x="624" y="380"/>
                  </a:lnTo>
                  <a:lnTo>
                    <a:pt x="630" y="348"/>
                  </a:lnTo>
                  <a:lnTo>
                    <a:pt x="632" y="316"/>
                  </a:lnTo>
                  <a:lnTo>
                    <a:pt x="63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40" name="Freeform 7"/>
            <p:cNvSpPr>
              <a:spLocks/>
            </p:cNvSpPr>
            <p:nvPr/>
          </p:nvSpPr>
          <p:spPr bwMode="gray">
            <a:xfrm>
              <a:off x="7476281" y="2480120"/>
              <a:ext cx="1318015" cy="3270274"/>
            </a:xfrm>
            <a:custGeom>
              <a:avLst/>
              <a:gdLst>
                <a:gd name="T0" fmla="*/ 320 w 1118"/>
                <a:gd name="T1" fmla="*/ 0 h 2774"/>
                <a:gd name="T2" fmla="*/ 288 w 1118"/>
                <a:gd name="T3" fmla="*/ 2 h 2774"/>
                <a:gd name="T4" fmla="*/ 226 w 1118"/>
                <a:gd name="T5" fmla="*/ 14 h 2774"/>
                <a:gd name="T6" fmla="*/ 168 w 1118"/>
                <a:gd name="T7" fmla="*/ 38 h 2774"/>
                <a:gd name="T8" fmla="*/ 118 w 1118"/>
                <a:gd name="T9" fmla="*/ 74 h 2774"/>
                <a:gd name="T10" fmla="*/ 74 w 1118"/>
                <a:gd name="T11" fmla="*/ 116 h 2774"/>
                <a:gd name="T12" fmla="*/ 40 w 1118"/>
                <a:gd name="T13" fmla="*/ 168 h 2774"/>
                <a:gd name="T14" fmla="*/ 16 w 1118"/>
                <a:gd name="T15" fmla="*/ 224 h 2774"/>
                <a:gd name="T16" fmla="*/ 2 w 1118"/>
                <a:gd name="T17" fmla="*/ 288 h 2774"/>
                <a:gd name="T18" fmla="*/ 0 w 1118"/>
                <a:gd name="T19" fmla="*/ 1182 h 2774"/>
                <a:gd name="T20" fmla="*/ 2 w 1118"/>
                <a:gd name="T21" fmla="*/ 1206 h 2774"/>
                <a:gd name="T22" fmla="*/ 8 w 1118"/>
                <a:gd name="T23" fmla="*/ 1252 h 2774"/>
                <a:gd name="T24" fmla="*/ 22 w 1118"/>
                <a:gd name="T25" fmla="*/ 1298 h 2774"/>
                <a:gd name="T26" fmla="*/ 42 w 1118"/>
                <a:gd name="T27" fmla="*/ 1338 h 2774"/>
                <a:gd name="T28" fmla="*/ 68 w 1118"/>
                <a:gd name="T29" fmla="*/ 1376 h 2774"/>
                <a:gd name="T30" fmla="*/ 98 w 1118"/>
                <a:gd name="T31" fmla="*/ 1410 h 2774"/>
                <a:gd name="T32" fmla="*/ 132 w 1118"/>
                <a:gd name="T33" fmla="*/ 1440 h 2774"/>
                <a:gd name="T34" fmla="*/ 170 w 1118"/>
                <a:gd name="T35" fmla="*/ 1464 h 2774"/>
                <a:gd name="T36" fmla="*/ 192 w 1118"/>
                <a:gd name="T37" fmla="*/ 2404 h 2774"/>
                <a:gd name="T38" fmla="*/ 192 w 1118"/>
                <a:gd name="T39" fmla="*/ 2442 h 2774"/>
                <a:gd name="T40" fmla="*/ 206 w 1118"/>
                <a:gd name="T41" fmla="*/ 2514 h 2774"/>
                <a:gd name="T42" fmla="*/ 230 w 1118"/>
                <a:gd name="T43" fmla="*/ 2580 h 2774"/>
                <a:gd name="T44" fmla="*/ 264 w 1118"/>
                <a:gd name="T45" fmla="*/ 2638 h 2774"/>
                <a:gd name="T46" fmla="*/ 308 w 1118"/>
                <a:gd name="T47" fmla="*/ 2688 h 2774"/>
                <a:gd name="T48" fmla="*/ 358 w 1118"/>
                <a:gd name="T49" fmla="*/ 2728 h 2774"/>
                <a:gd name="T50" fmla="*/ 416 w 1118"/>
                <a:gd name="T51" fmla="*/ 2756 h 2774"/>
                <a:gd name="T52" fmla="*/ 478 w 1118"/>
                <a:gd name="T53" fmla="*/ 2772 h 2774"/>
                <a:gd name="T54" fmla="*/ 608 w 1118"/>
                <a:gd name="T55" fmla="*/ 2774 h 2774"/>
                <a:gd name="T56" fmla="*/ 640 w 1118"/>
                <a:gd name="T57" fmla="*/ 2772 h 2774"/>
                <a:gd name="T58" fmla="*/ 702 w 1118"/>
                <a:gd name="T59" fmla="*/ 2756 h 2774"/>
                <a:gd name="T60" fmla="*/ 760 w 1118"/>
                <a:gd name="T61" fmla="*/ 2728 h 2774"/>
                <a:gd name="T62" fmla="*/ 810 w 1118"/>
                <a:gd name="T63" fmla="*/ 2688 h 2774"/>
                <a:gd name="T64" fmla="*/ 854 w 1118"/>
                <a:gd name="T65" fmla="*/ 2638 h 2774"/>
                <a:gd name="T66" fmla="*/ 888 w 1118"/>
                <a:gd name="T67" fmla="*/ 2580 h 2774"/>
                <a:gd name="T68" fmla="*/ 912 w 1118"/>
                <a:gd name="T69" fmla="*/ 2514 h 2774"/>
                <a:gd name="T70" fmla="*/ 926 w 1118"/>
                <a:gd name="T71" fmla="*/ 2442 h 2774"/>
                <a:gd name="T72" fmla="*/ 928 w 1118"/>
                <a:gd name="T73" fmla="*/ 1474 h 2774"/>
                <a:gd name="T74" fmla="*/ 948 w 1118"/>
                <a:gd name="T75" fmla="*/ 1464 h 2774"/>
                <a:gd name="T76" fmla="*/ 986 w 1118"/>
                <a:gd name="T77" fmla="*/ 1440 h 2774"/>
                <a:gd name="T78" fmla="*/ 1022 w 1118"/>
                <a:gd name="T79" fmla="*/ 1410 h 2774"/>
                <a:gd name="T80" fmla="*/ 1052 w 1118"/>
                <a:gd name="T81" fmla="*/ 1376 h 2774"/>
                <a:gd name="T82" fmla="*/ 1076 w 1118"/>
                <a:gd name="T83" fmla="*/ 1338 h 2774"/>
                <a:gd name="T84" fmla="*/ 1096 w 1118"/>
                <a:gd name="T85" fmla="*/ 1298 h 2774"/>
                <a:gd name="T86" fmla="*/ 1110 w 1118"/>
                <a:gd name="T87" fmla="*/ 1252 h 2774"/>
                <a:gd name="T88" fmla="*/ 1118 w 1118"/>
                <a:gd name="T89" fmla="*/ 1206 h 2774"/>
                <a:gd name="T90" fmla="*/ 1118 w 1118"/>
                <a:gd name="T91" fmla="*/ 320 h 2774"/>
                <a:gd name="T92" fmla="*/ 1116 w 1118"/>
                <a:gd name="T93" fmla="*/ 288 h 2774"/>
                <a:gd name="T94" fmla="*/ 1104 w 1118"/>
                <a:gd name="T95" fmla="*/ 224 h 2774"/>
                <a:gd name="T96" fmla="*/ 1080 w 1118"/>
                <a:gd name="T97" fmla="*/ 168 h 2774"/>
                <a:gd name="T98" fmla="*/ 1044 w 1118"/>
                <a:gd name="T99" fmla="*/ 116 h 2774"/>
                <a:gd name="T100" fmla="*/ 1002 w 1118"/>
                <a:gd name="T101" fmla="*/ 74 h 2774"/>
                <a:gd name="T102" fmla="*/ 950 w 1118"/>
                <a:gd name="T103" fmla="*/ 38 h 2774"/>
                <a:gd name="T104" fmla="*/ 894 w 1118"/>
                <a:gd name="T105" fmla="*/ 14 h 2774"/>
                <a:gd name="T106" fmla="*/ 830 w 1118"/>
                <a:gd name="T107" fmla="*/ 2 h 2774"/>
                <a:gd name="T108" fmla="*/ 798 w 1118"/>
                <a:gd name="T109" fmla="*/ 0 h 2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18" h="2774">
                  <a:moveTo>
                    <a:pt x="798" y="0"/>
                  </a:moveTo>
                  <a:lnTo>
                    <a:pt x="320" y="0"/>
                  </a:lnTo>
                  <a:lnTo>
                    <a:pt x="320" y="0"/>
                  </a:lnTo>
                  <a:lnTo>
                    <a:pt x="288" y="2"/>
                  </a:lnTo>
                  <a:lnTo>
                    <a:pt x="256" y="6"/>
                  </a:lnTo>
                  <a:lnTo>
                    <a:pt x="226" y="14"/>
                  </a:lnTo>
                  <a:lnTo>
                    <a:pt x="196" y="26"/>
                  </a:lnTo>
                  <a:lnTo>
                    <a:pt x="168" y="38"/>
                  </a:lnTo>
                  <a:lnTo>
                    <a:pt x="142" y="54"/>
                  </a:lnTo>
                  <a:lnTo>
                    <a:pt x="118" y="74"/>
                  </a:lnTo>
                  <a:lnTo>
                    <a:pt x="94" y="94"/>
                  </a:lnTo>
                  <a:lnTo>
                    <a:pt x="74" y="116"/>
                  </a:lnTo>
                  <a:lnTo>
                    <a:pt x="56" y="142"/>
                  </a:lnTo>
                  <a:lnTo>
                    <a:pt x="40" y="168"/>
                  </a:lnTo>
                  <a:lnTo>
                    <a:pt x="26" y="196"/>
                  </a:lnTo>
                  <a:lnTo>
                    <a:pt x="16" y="224"/>
                  </a:lnTo>
                  <a:lnTo>
                    <a:pt x="8" y="256"/>
                  </a:lnTo>
                  <a:lnTo>
                    <a:pt x="2" y="288"/>
                  </a:lnTo>
                  <a:lnTo>
                    <a:pt x="0" y="320"/>
                  </a:lnTo>
                  <a:lnTo>
                    <a:pt x="0" y="1182"/>
                  </a:lnTo>
                  <a:lnTo>
                    <a:pt x="0" y="1182"/>
                  </a:lnTo>
                  <a:lnTo>
                    <a:pt x="2" y="1206"/>
                  </a:lnTo>
                  <a:lnTo>
                    <a:pt x="4" y="1230"/>
                  </a:lnTo>
                  <a:lnTo>
                    <a:pt x="8" y="1252"/>
                  </a:lnTo>
                  <a:lnTo>
                    <a:pt x="14" y="1276"/>
                  </a:lnTo>
                  <a:lnTo>
                    <a:pt x="22" y="1298"/>
                  </a:lnTo>
                  <a:lnTo>
                    <a:pt x="32" y="1318"/>
                  </a:lnTo>
                  <a:lnTo>
                    <a:pt x="42" y="1338"/>
                  </a:lnTo>
                  <a:lnTo>
                    <a:pt x="54" y="1358"/>
                  </a:lnTo>
                  <a:lnTo>
                    <a:pt x="68" y="1376"/>
                  </a:lnTo>
                  <a:lnTo>
                    <a:pt x="82" y="1394"/>
                  </a:lnTo>
                  <a:lnTo>
                    <a:pt x="98" y="1410"/>
                  </a:lnTo>
                  <a:lnTo>
                    <a:pt x="114" y="1426"/>
                  </a:lnTo>
                  <a:lnTo>
                    <a:pt x="132" y="1440"/>
                  </a:lnTo>
                  <a:lnTo>
                    <a:pt x="150" y="1452"/>
                  </a:lnTo>
                  <a:lnTo>
                    <a:pt x="170" y="1464"/>
                  </a:lnTo>
                  <a:lnTo>
                    <a:pt x="192" y="1474"/>
                  </a:lnTo>
                  <a:lnTo>
                    <a:pt x="192" y="2404"/>
                  </a:lnTo>
                  <a:lnTo>
                    <a:pt x="192" y="2404"/>
                  </a:lnTo>
                  <a:lnTo>
                    <a:pt x="192" y="2442"/>
                  </a:lnTo>
                  <a:lnTo>
                    <a:pt x="198" y="2478"/>
                  </a:lnTo>
                  <a:lnTo>
                    <a:pt x="206" y="2514"/>
                  </a:lnTo>
                  <a:lnTo>
                    <a:pt x="216" y="2548"/>
                  </a:lnTo>
                  <a:lnTo>
                    <a:pt x="230" y="2580"/>
                  </a:lnTo>
                  <a:lnTo>
                    <a:pt x="246" y="2610"/>
                  </a:lnTo>
                  <a:lnTo>
                    <a:pt x="264" y="2638"/>
                  </a:lnTo>
                  <a:lnTo>
                    <a:pt x="286" y="2666"/>
                  </a:lnTo>
                  <a:lnTo>
                    <a:pt x="308" y="2688"/>
                  </a:lnTo>
                  <a:lnTo>
                    <a:pt x="332" y="2710"/>
                  </a:lnTo>
                  <a:lnTo>
                    <a:pt x="358" y="2728"/>
                  </a:lnTo>
                  <a:lnTo>
                    <a:pt x="386" y="2744"/>
                  </a:lnTo>
                  <a:lnTo>
                    <a:pt x="416" y="2756"/>
                  </a:lnTo>
                  <a:lnTo>
                    <a:pt x="446" y="2766"/>
                  </a:lnTo>
                  <a:lnTo>
                    <a:pt x="478" y="2772"/>
                  </a:lnTo>
                  <a:lnTo>
                    <a:pt x="512" y="2774"/>
                  </a:lnTo>
                  <a:lnTo>
                    <a:pt x="608" y="2774"/>
                  </a:lnTo>
                  <a:lnTo>
                    <a:pt x="608" y="2774"/>
                  </a:lnTo>
                  <a:lnTo>
                    <a:pt x="640" y="2772"/>
                  </a:lnTo>
                  <a:lnTo>
                    <a:pt x="672" y="2766"/>
                  </a:lnTo>
                  <a:lnTo>
                    <a:pt x="702" y="2756"/>
                  </a:lnTo>
                  <a:lnTo>
                    <a:pt x="732" y="2744"/>
                  </a:lnTo>
                  <a:lnTo>
                    <a:pt x="760" y="2728"/>
                  </a:lnTo>
                  <a:lnTo>
                    <a:pt x="786" y="2710"/>
                  </a:lnTo>
                  <a:lnTo>
                    <a:pt x="810" y="2688"/>
                  </a:lnTo>
                  <a:lnTo>
                    <a:pt x="834" y="2666"/>
                  </a:lnTo>
                  <a:lnTo>
                    <a:pt x="854" y="2638"/>
                  </a:lnTo>
                  <a:lnTo>
                    <a:pt x="872" y="2610"/>
                  </a:lnTo>
                  <a:lnTo>
                    <a:pt x="888" y="2580"/>
                  </a:lnTo>
                  <a:lnTo>
                    <a:pt x="902" y="2548"/>
                  </a:lnTo>
                  <a:lnTo>
                    <a:pt x="912" y="2514"/>
                  </a:lnTo>
                  <a:lnTo>
                    <a:pt x="920" y="2478"/>
                  </a:lnTo>
                  <a:lnTo>
                    <a:pt x="926" y="2442"/>
                  </a:lnTo>
                  <a:lnTo>
                    <a:pt x="928" y="2404"/>
                  </a:lnTo>
                  <a:lnTo>
                    <a:pt x="928" y="1474"/>
                  </a:lnTo>
                  <a:lnTo>
                    <a:pt x="928" y="1474"/>
                  </a:lnTo>
                  <a:lnTo>
                    <a:pt x="948" y="1464"/>
                  </a:lnTo>
                  <a:lnTo>
                    <a:pt x="968" y="1452"/>
                  </a:lnTo>
                  <a:lnTo>
                    <a:pt x="986" y="1440"/>
                  </a:lnTo>
                  <a:lnTo>
                    <a:pt x="1004" y="1426"/>
                  </a:lnTo>
                  <a:lnTo>
                    <a:pt x="1022" y="1410"/>
                  </a:lnTo>
                  <a:lnTo>
                    <a:pt x="1038" y="1394"/>
                  </a:lnTo>
                  <a:lnTo>
                    <a:pt x="1052" y="1376"/>
                  </a:lnTo>
                  <a:lnTo>
                    <a:pt x="1064" y="1358"/>
                  </a:lnTo>
                  <a:lnTo>
                    <a:pt x="1076" y="1338"/>
                  </a:lnTo>
                  <a:lnTo>
                    <a:pt x="1088" y="1318"/>
                  </a:lnTo>
                  <a:lnTo>
                    <a:pt x="1096" y="1298"/>
                  </a:lnTo>
                  <a:lnTo>
                    <a:pt x="1104" y="1276"/>
                  </a:lnTo>
                  <a:lnTo>
                    <a:pt x="1110" y="1252"/>
                  </a:lnTo>
                  <a:lnTo>
                    <a:pt x="1114" y="1230"/>
                  </a:lnTo>
                  <a:lnTo>
                    <a:pt x="1118" y="1206"/>
                  </a:lnTo>
                  <a:lnTo>
                    <a:pt x="1118" y="1182"/>
                  </a:lnTo>
                  <a:lnTo>
                    <a:pt x="1118" y="320"/>
                  </a:lnTo>
                  <a:lnTo>
                    <a:pt x="1118" y="320"/>
                  </a:lnTo>
                  <a:lnTo>
                    <a:pt x="1116" y="288"/>
                  </a:lnTo>
                  <a:lnTo>
                    <a:pt x="1112" y="256"/>
                  </a:lnTo>
                  <a:lnTo>
                    <a:pt x="1104" y="224"/>
                  </a:lnTo>
                  <a:lnTo>
                    <a:pt x="1092" y="196"/>
                  </a:lnTo>
                  <a:lnTo>
                    <a:pt x="1080" y="168"/>
                  </a:lnTo>
                  <a:lnTo>
                    <a:pt x="1064" y="142"/>
                  </a:lnTo>
                  <a:lnTo>
                    <a:pt x="1044" y="116"/>
                  </a:lnTo>
                  <a:lnTo>
                    <a:pt x="1024" y="94"/>
                  </a:lnTo>
                  <a:lnTo>
                    <a:pt x="1002" y="74"/>
                  </a:lnTo>
                  <a:lnTo>
                    <a:pt x="976" y="54"/>
                  </a:lnTo>
                  <a:lnTo>
                    <a:pt x="950" y="38"/>
                  </a:lnTo>
                  <a:lnTo>
                    <a:pt x="922" y="26"/>
                  </a:lnTo>
                  <a:lnTo>
                    <a:pt x="894" y="14"/>
                  </a:lnTo>
                  <a:lnTo>
                    <a:pt x="862" y="6"/>
                  </a:lnTo>
                  <a:lnTo>
                    <a:pt x="830" y="2"/>
                  </a:lnTo>
                  <a:lnTo>
                    <a:pt x="798" y="0"/>
                  </a:lnTo>
                  <a:lnTo>
                    <a:pt x="7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>
                <a:solidFill>
                  <a:srgbClr val="ADBECB"/>
                </a:solidFill>
                <a:ea typeface="ＭＳ Ｐゴシック" charset="-128"/>
              </a:endParaRPr>
            </a:p>
          </p:txBody>
        </p:sp>
      </p:grpSp>
      <p:sp>
        <p:nvSpPr>
          <p:cNvPr id="499" name="Titel 3"/>
          <p:cNvSpPr txBox="1">
            <a:spLocks/>
          </p:cNvSpPr>
          <p:nvPr/>
        </p:nvSpPr>
        <p:spPr bwMode="auto">
          <a:xfrm>
            <a:off x="483150" y="6129957"/>
            <a:ext cx="3987165" cy="2634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de-DE" sz="1000" b="0" kern="0" dirty="0"/>
              <a:t>United </a:t>
            </a:r>
            <a:r>
              <a:rPr lang="de-DE" sz="1000" b="0" kern="0" dirty="0" err="1"/>
              <a:t>Nations</a:t>
            </a:r>
            <a:r>
              <a:rPr lang="de-DE" sz="1000" b="0" kern="0" dirty="0"/>
              <a:t>, </a:t>
            </a:r>
            <a:r>
              <a:rPr lang="en-US" sz="1000" b="0" dirty="0"/>
              <a:t>World Urbanization Prospects: The 2018 Revision</a:t>
            </a:r>
            <a:endParaRPr lang="en-US" sz="1000" b="0" kern="0" dirty="0"/>
          </a:p>
        </p:txBody>
      </p:sp>
      <p:sp>
        <p:nvSpPr>
          <p:cNvPr id="501" name="Titel 3"/>
          <p:cNvSpPr txBox="1">
            <a:spLocks/>
          </p:cNvSpPr>
          <p:nvPr/>
        </p:nvSpPr>
        <p:spPr bwMode="auto">
          <a:xfrm>
            <a:off x="6343167" y="6112443"/>
            <a:ext cx="3987165" cy="2634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1000" b="0" kern="0" dirty="0"/>
              <a:t>Department of Transport, England  Transport stats 1965-2015</a:t>
            </a:r>
          </a:p>
        </p:txBody>
      </p:sp>
      <p:cxnSp>
        <p:nvCxnSpPr>
          <p:cNvPr id="544" name="Gerade Verbindung 543"/>
          <p:cNvCxnSpPr/>
          <p:nvPr/>
        </p:nvCxnSpPr>
        <p:spPr bwMode="auto">
          <a:xfrm>
            <a:off x="6756400" y="3118064"/>
            <a:ext cx="4470400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FFFFFF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53" name="Fahrrad"/>
          <p:cNvGrpSpPr>
            <a:grpSpLocks/>
          </p:cNvGrpSpPr>
          <p:nvPr/>
        </p:nvGrpSpPr>
        <p:grpSpPr bwMode="gray">
          <a:xfrm>
            <a:off x="7618873" y="3367888"/>
            <a:ext cx="527193" cy="309403"/>
            <a:chOff x="5773738" y="2654301"/>
            <a:chExt cx="1235075" cy="785812"/>
          </a:xfrm>
          <a:solidFill>
            <a:schemeClr val="bg1"/>
          </a:solidFill>
        </p:grpSpPr>
        <p:sp>
          <p:nvSpPr>
            <p:cNvPr id="554" name="Freeform 25"/>
            <p:cNvSpPr>
              <a:spLocks/>
            </p:cNvSpPr>
            <p:nvPr/>
          </p:nvSpPr>
          <p:spPr bwMode="gray">
            <a:xfrm>
              <a:off x="6535738" y="2967038"/>
              <a:ext cx="473075" cy="473075"/>
            </a:xfrm>
            <a:custGeom>
              <a:avLst/>
              <a:gdLst>
                <a:gd name="T0" fmla="*/ 2147483647 w 733"/>
                <a:gd name="T1" fmla="*/ 0 h 733"/>
                <a:gd name="T2" fmla="*/ 2147483647 w 733"/>
                <a:gd name="T3" fmla="*/ 2147483647 h 733"/>
                <a:gd name="T4" fmla="*/ 2147483647 w 733"/>
                <a:gd name="T5" fmla="*/ 2147483647 h 733"/>
                <a:gd name="T6" fmla="*/ 2147483647 w 733"/>
                <a:gd name="T7" fmla="*/ 2147483647 h 733"/>
                <a:gd name="T8" fmla="*/ 2147483647 w 733"/>
                <a:gd name="T9" fmla="*/ 2147483647 h 733"/>
                <a:gd name="T10" fmla="*/ 2147483647 w 733"/>
                <a:gd name="T11" fmla="*/ 2147483647 h 733"/>
                <a:gd name="T12" fmla="*/ 2147483647 w 733"/>
                <a:gd name="T13" fmla="*/ 2147483647 h 733"/>
                <a:gd name="T14" fmla="*/ 2147483647 w 733"/>
                <a:gd name="T15" fmla="*/ 2147483647 h 733"/>
                <a:gd name="T16" fmla="*/ 2147483647 w 733"/>
                <a:gd name="T17" fmla="*/ 2147483647 h 733"/>
                <a:gd name="T18" fmla="*/ 2147483647 w 733"/>
                <a:gd name="T19" fmla="*/ 2147483647 h 733"/>
                <a:gd name="T20" fmla="*/ 0 w 733"/>
                <a:gd name="T21" fmla="*/ 2147483647 h 733"/>
                <a:gd name="T22" fmla="*/ 2147483647 w 733"/>
                <a:gd name="T23" fmla="*/ 2147483647 h 733"/>
                <a:gd name="T24" fmla="*/ 2147483647 w 733"/>
                <a:gd name="T25" fmla="*/ 2147483647 h 733"/>
                <a:gd name="T26" fmla="*/ 2147483647 w 733"/>
                <a:gd name="T27" fmla="*/ 0 h 73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33" h="733">
                  <a:moveTo>
                    <a:pt x="367" y="0"/>
                  </a:moveTo>
                  <a:cubicBezTo>
                    <a:pt x="354" y="0"/>
                    <a:pt x="341" y="1"/>
                    <a:pt x="328" y="2"/>
                  </a:cubicBezTo>
                  <a:cubicBezTo>
                    <a:pt x="334" y="21"/>
                    <a:pt x="353" y="76"/>
                    <a:pt x="360" y="95"/>
                  </a:cubicBezTo>
                  <a:cubicBezTo>
                    <a:pt x="362" y="95"/>
                    <a:pt x="364" y="95"/>
                    <a:pt x="367" y="95"/>
                  </a:cubicBezTo>
                  <a:cubicBezTo>
                    <a:pt x="516" y="95"/>
                    <a:pt x="638" y="217"/>
                    <a:pt x="638" y="367"/>
                  </a:cubicBezTo>
                  <a:cubicBezTo>
                    <a:pt x="638" y="516"/>
                    <a:pt x="516" y="638"/>
                    <a:pt x="367" y="638"/>
                  </a:cubicBezTo>
                  <a:cubicBezTo>
                    <a:pt x="217" y="638"/>
                    <a:pt x="95" y="516"/>
                    <a:pt x="95" y="367"/>
                  </a:cubicBezTo>
                  <a:cubicBezTo>
                    <a:pt x="95" y="316"/>
                    <a:pt x="109" y="268"/>
                    <a:pt x="134" y="227"/>
                  </a:cubicBezTo>
                  <a:cubicBezTo>
                    <a:pt x="132" y="223"/>
                    <a:pt x="130" y="219"/>
                    <a:pt x="129" y="215"/>
                  </a:cubicBezTo>
                  <a:cubicBezTo>
                    <a:pt x="115" y="183"/>
                    <a:pt x="104" y="152"/>
                    <a:pt x="94" y="122"/>
                  </a:cubicBezTo>
                  <a:cubicBezTo>
                    <a:pt x="36" y="187"/>
                    <a:pt x="0" y="273"/>
                    <a:pt x="0" y="367"/>
                  </a:cubicBezTo>
                  <a:cubicBezTo>
                    <a:pt x="0" y="569"/>
                    <a:pt x="165" y="733"/>
                    <a:pt x="367" y="733"/>
                  </a:cubicBezTo>
                  <a:cubicBezTo>
                    <a:pt x="569" y="733"/>
                    <a:pt x="733" y="569"/>
                    <a:pt x="733" y="367"/>
                  </a:cubicBezTo>
                  <a:cubicBezTo>
                    <a:pt x="733" y="165"/>
                    <a:pt x="569" y="0"/>
                    <a:pt x="3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5" name="Freeform 26"/>
            <p:cNvSpPr>
              <a:spLocks/>
            </p:cNvSpPr>
            <p:nvPr/>
          </p:nvSpPr>
          <p:spPr bwMode="gray">
            <a:xfrm>
              <a:off x="6151563" y="3041651"/>
              <a:ext cx="80963" cy="77788"/>
            </a:xfrm>
            <a:custGeom>
              <a:avLst/>
              <a:gdLst>
                <a:gd name="T0" fmla="*/ 0 w 124"/>
                <a:gd name="T1" fmla="*/ 2147483647 h 120"/>
                <a:gd name="T2" fmla="*/ 2147483647 w 124"/>
                <a:gd name="T3" fmla="*/ 2147483647 h 120"/>
                <a:gd name="T4" fmla="*/ 2147483647 w 124"/>
                <a:gd name="T5" fmla="*/ 2147483647 h 120"/>
                <a:gd name="T6" fmla="*/ 2147483647 w 124"/>
                <a:gd name="T7" fmla="*/ 0 h 120"/>
                <a:gd name="T8" fmla="*/ 0 w 124"/>
                <a:gd name="T9" fmla="*/ 2147483647 h 1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4" h="120">
                  <a:moveTo>
                    <a:pt x="0" y="89"/>
                  </a:moveTo>
                  <a:cubicBezTo>
                    <a:pt x="7" y="99"/>
                    <a:pt x="14" y="109"/>
                    <a:pt x="20" y="120"/>
                  </a:cubicBezTo>
                  <a:cubicBezTo>
                    <a:pt x="124" y="120"/>
                    <a:pt x="124" y="120"/>
                    <a:pt x="124" y="120"/>
                  </a:cubicBezTo>
                  <a:cubicBezTo>
                    <a:pt x="106" y="75"/>
                    <a:pt x="82" y="34"/>
                    <a:pt x="48" y="0"/>
                  </a:cubicBezTo>
                  <a:lnTo>
                    <a:pt x="0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6" name="Freeform 27"/>
            <p:cNvSpPr>
              <a:spLocks/>
            </p:cNvSpPr>
            <p:nvPr/>
          </p:nvSpPr>
          <p:spPr bwMode="gray">
            <a:xfrm>
              <a:off x="5773738" y="2967038"/>
              <a:ext cx="458788" cy="473075"/>
            </a:xfrm>
            <a:custGeom>
              <a:avLst/>
              <a:gdLst>
                <a:gd name="T0" fmla="*/ 2147483647 w 709"/>
                <a:gd name="T1" fmla="*/ 2147483647 h 733"/>
                <a:gd name="T2" fmla="*/ 2147483647 w 709"/>
                <a:gd name="T3" fmla="*/ 2147483647 h 733"/>
                <a:gd name="T4" fmla="*/ 2147483647 w 709"/>
                <a:gd name="T5" fmla="*/ 2147483647 h 733"/>
                <a:gd name="T6" fmla="*/ 2147483647 w 709"/>
                <a:gd name="T7" fmla="*/ 2147483647 h 733"/>
                <a:gd name="T8" fmla="*/ 2147483647 w 709"/>
                <a:gd name="T9" fmla="*/ 0 h 733"/>
                <a:gd name="T10" fmla="*/ 0 w 709"/>
                <a:gd name="T11" fmla="*/ 2147483647 h 733"/>
                <a:gd name="T12" fmla="*/ 2147483647 w 709"/>
                <a:gd name="T13" fmla="*/ 2147483647 h 733"/>
                <a:gd name="T14" fmla="*/ 2147483647 w 709"/>
                <a:gd name="T15" fmla="*/ 2147483647 h 733"/>
                <a:gd name="T16" fmla="*/ 2147483647 w 709"/>
                <a:gd name="T17" fmla="*/ 2147483647 h 733"/>
                <a:gd name="T18" fmla="*/ 2147483647 w 709"/>
                <a:gd name="T19" fmla="*/ 2147483647 h 73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09" h="733">
                  <a:moveTo>
                    <a:pt x="366" y="638"/>
                  </a:moveTo>
                  <a:cubicBezTo>
                    <a:pt x="216" y="638"/>
                    <a:pt x="95" y="516"/>
                    <a:pt x="95" y="367"/>
                  </a:cubicBezTo>
                  <a:cubicBezTo>
                    <a:pt x="95" y="222"/>
                    <a:pt x="208" y="104"/>
                    <a:pt x="350" y="96"/>
                  </a:cubicBezTo>
                  <a:cubicBezTo>
                    <a:pt x="401" y="2"/>
                    <a:pt x="401" y="2"/>
                    <a:pt x="401" y="2"/>
                  </a:cubicBezTo>
                  <a:cubicBezTo>
                    <a:pt x="389" y="1"/>
                    <a:pt x="378" y="0"/>
                    <a:pt x="366" y="0"/>
                  </a:cubicBezTo>
                  <a:cubicBezTo>
                    <a:pt x="164" y="0"/>
                    <a:pt x="0" y="165"/>
                    <a:pt x="0" y="367"/>
                  </a:cubicBezTo>
                  <a:cubicBezTo>
                    <a:pt x="0" y="569"/>
                    <a:pt x="164" y="733"/>
                    <a:pt x="366" y="733"/>
                  </a:cubicBezTo>
                  <a:cubicBezTo>
                    <a:pt x="522" y="733"/>
                    <a:pt x="656" y="635"/>
                    <a:pt x="709" y="497"/>
                  </a:cubicBezTo>
                  <a:cubicBezTo>
                    <a:pt x="605" y="497"/>
                    <a:pt x="605" y="497"/>
                    <a:pt x="605" y="497"/>
                  </a:cubicBezTo>
                  <a:cubicBezTo>
                    <a:pt x="558" y="581"/>
                    <a:pt x="469" y="638"/>
                    <a:pt x="366" y="6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7" name="Freeform 28"/>
            <p:cNvSpPr>
              <a:spLocks noEditPoints="1"/>
            </p:cNvSpPr>
            <p:nvPr/>
          </p:nvSpPr>
          <p:spPr bwMode="gray">
            <a:xfrm>
              <a:off x="5969001" y="2654301"/>
              <a:ext cx="863600" cy="582613"/>
            </a:xfrm>
            <a:custGeom>
              <a:avLst/>
              <a:gdLst>
                <a:gd name="T0" fmla="*/ 2147483647 w 1338"/>
                <a:gd name="T1" fmla="*/ 2147483647 h 900"/>
                <a:gd name="T2" fmla="*/ 2147483647 w 1338"/>
                <a:gd name="T3" fmla="*/ 2147483647 h 900"/>
                <a:gd name="T4" fmla="*/ 2147483647 w 1338"/>
                <a:gd name="T5" fmla="*/ 2147483647 h 900"/>
                <a:gd name="T6" fmla="*/ 2147483647 w 1338"/>
                <a:gd name="T7" fmla="*/ 2147483647 h 900"/>
                <a:gd name="T8" fmla="*/ 2147483647 w 1338"/>
                <a:gd name="T9" fmla="*/ 2147483647 h 900"/>
                <a:gd name="T10" fmla="*/ 2147483647 w 1338"/>
                <a:gd name="T11" fmla="*/ 2147483647 h 900"/>
                <a:gd name="T12" fmla="*/ 2147483647 w 1338"/>
                <a:gd name="T13" fmla="*/ 2147483647 h 900"/>
                <a:gd name="T14" fmla="*/ 2147483647 w 1338"/>
                <a:gd name="T15" fmla="*/ 2147483647 h 900"/>
                <a:gd name="T16" fmla="*/ 2147483647 w 1338"/>
                <a:gd name="T17" fmla="*/ 2147483647 h 900"/>
                <a:gd name="T18" fmla="*/ 2147483647 w 1338"/>
                <a:gd name="T19" fmla="*/ 2147483647 h 900"/>
                <a:gd name="T20" fmla="*/ 2147483647 w 1338"/>
                <a:gd name="T21" fmla="*/ 2147483647 h 900"/>
                <a:gd name="T22" fmla="*/ 2147483647 w 1338"/>
                <a:gd name="T23" fmla="*/ 2147483647 h 900"/>
                <a:gd name="T24" fmla="*/ 2147483647 w 1338"/>
                <a:gd name="T25" fmla="*/ 2147483647 h 900"/>
                <a:gd name="T26" fmla="*/ 2147483647 w 1338"/>
                <a:gd name="T27" fmla="*/ 2147483647 h 900"/>
                <a:gd name="T28" fmla="*/ 2147483647 w 1338"/>
                <a:gd name="T29" fmla="*/ 2147483647 h 900"/>
                <a:gd name="T30" fmla="*/ 2147483647 w 1338"/>
                <a:gd name="T31" fmla="*/ 2147483647 h 900"/>
                <a:gd name="T32" fmla="*/ 2147483647 w 1338"/>
                <a:gd name="T33" fmla="*/ 2147483647 h 900"/>
                <a:gd name="T34" fmla="*/ 2147483647 w 1338"/>
                <a:gd name="T35" fmla="*/ 2147483647 h 900"/>
                <a:gd name="T36" fmla="*/ 2147483647 w 1338"/>
                <a:gd name="T37" fmla="*/ 2147483647 h 900"/>
                <a:gd name="T38" fmla="*/ 2147483647 w 1338"/>
                <a:gd name="T39" fmla="*/ 2147483647 h 900"/>
                <a:gd name="T40" fmla="*/ 2147483647 w 1338"/>
                <a:gd name="T41" fmla="*/ 2147483647 h 900"/>
                <a:gd name="T42" fmla="*/ 2147483647 w 1338"/>
                <a:gd name="T43" fmla="*/ 2147483647 h 900"/>
                <a:gd name="T44" fmla="*/ 2147483647 w 1338"/>
                <a:gd name="T45" fmla="*/ 2147483647 h 900"/>
                <a:gd name="T46" fmla="*/ 2147483647 w 1338"/>
                <a:gd name="T47" fmla="*/ 2147483647 h 900"/>
                <a:gd name="T48" fmla="*/ 2147483647 w 1338"/>
                <a:gd name="T49" fmla="*/ 2147483647 h 900"/>
                <a:gd name="T50" fmla="*/ 2147483647 w 1338"/>
                <a:gd name="T51" fmla="*/ 2147483647 h 900"/>
                <a:gd name="T52" fmla="*/ 2147483647 w 1338"/>
                <a:gd name="T53" fmla="*/ 0 h 900"/>
                <a:gd name="T54" fmla="*/ 2147483647 w 1338"/>
                <a:gd name="T55" fmla="*/ 0 h 900"/>
                <a:gd name="T56" fmla="*/ 2147483647 w 1338"/>
                <a:gd name="T57" fmla="*/ 2147483647 h 900"/>
                <a:gd name="T58" fmla="*/ 2147483647 w 1338"/>
                <a:gd name="T59" fmla="*/ 2147483647 h 900"/>
                <a:gd name="T60" fmla="*/ 2147483647 w 1338"/>
                <a:gd name="T61" fmla="*/ 2147483647 h 900"/>
                <a:gd name="T62" fmla="*/ 2147483647 w 1338"/>
                <a:gd name="T63" fmla="*/ 2147483647 h 900"/>
                <a:gd name="T64" fmla="*/ 2147483647 w 1338"/>
                <a:gd name="T65" fmla="*/ 2147483647 h 900"/>
                <a:gd name="T66" fmla="*/ 2147483647 w 1338"/>
                <a:gd name="T67" fmla="*/ 2147483647 h 900"/>
                <a:gd name="T68" fmla="*/ 2147483647 w 1338"/>
                <a:gd name="T69" fmla="*/ 2147483647 h 900"/>
                <a:gd name="T70" fmla="*/ 2147483647 w 1338"/>
                <a:gd name="T71" fmla="*/ 2147483647 h 900"/>
                <a:gd name="T72" fmla="*/ 2147483647 w 1338"/>
                <a:gd name="T73" fmla="*/ 2147483647 h 900"/>
                <a:gd name="T74" fmla="*/ 2147483647 w 1338"/>
                <a:gd name="T75" fmla="*/ 2147483647 h 900"/>
                <a:gd name="T76" fmla="*/ 2147483647 w 1338"/>
                <a:gd name="T77" fmla="*/ 2147483647 h 900"/>
                <a:gd name="T78" fmla="*/ 2147483647 w 1338"/>
                <a:gd name="T79" fmla="*/ 2147483647 h 900"/>
                <a:gd name="T80" fmla="*/ 2147483647 w 1338"/>
                <a:gd name="T81" fmla="*/ 2147483647 h 900"/>
                <a:gd name="T82" fmla="*/ 2147483647 w 1338"/>
                <a:gd name="T83" fmla="*/ 2147483647 h 900"/>
                <a:gd name="T84" fmla="*/ 2147483647 w 1338"/>
                <a:gd name="T85" fmla="*/ 2147483647 h 900"/>
                <a:gd name="T86" fmla="*/ 2147483647 w 1338"/>
                <a:gd name="T87" fmla="*/ 2147483647 h 900"/>
                <a:gd name="T88" fmla="*/ 2147483647 w 1338"/>
                <a:gd name="T89" fmla="*/ 2147483647 h 900"/>
                <a:gd name="T90" fmla="*/ 2147483647 w 1338"/>
                <a:gd name="T91" fmla="*/ 2147483647 h 90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338" h="900">
                  <a:moveTo>
                    <a:pt x="1022" y="482"/>
                  </a:moveTo>
                  <a:cubicBezTo>
                    <a:pt x="1042" y="543"/>
                    <a:pt x="1059" y="605"/>
                    <a:pt x="1084" y="664"/>
                  </a:cubicBezTo>
                  <a:cubicBezTo>
                    <a:pt x="1143" y="802"/>
                    <a:pt x="1205" y="876"/>
                    <a:pt x="1207" y="879"/>
                  </a:cubicBezTo>
                  <a:cubicBezTo>
                    <a:pt x="1224" y="897"/>
                    <a:pt x="1253" y="900"/>
                    <a:pt x="1271" y="884"/>
                  </a:cubicBezTo>
                  <a:cubicBezTo>
                    <a:pt x="1290" y="867"/>
                    <a:pt x="1293" y="839"/>
                    <a:pt x="1276" y="820"/>
                  </a:cubicBezTo>
                  <a:cubicBezTo>
                    <a:pt x="1276" y="820"/>
                    <a:pt x="1260" y="801"/>
                    <a:pt x="1235" y="760"/>
                  </a:cubicBezTo>
                  <a:cubicBezTo>
                    <a:pt x="1193" y="692"/>
                    <a:pt x="1162" y="620"/>
                    <a:pt x="1137" y="545"/>
                  </a:cubicBezTo>
                  <a:cubicBezTo>
                    <a:pt x="1130" y="523"/>
                    <a:pt x="1011" y="138"/>
                    <a:pt x="1011" y="138"/>
                  </a:cubicBezTo>
                  <a:cubicBezTo>
                    <a:pt x="1011" y="138"/>
                    <a:pt x="1011" y="137"/>
                    <a:pt x="1010" y="137"/>
                  </a:cubicBezTo>
                  <a:cubicBezTo>
                    <a:pt x="1183" y="137"/>
                    <a:pt x="1183" y="137"/>
                    <a:pt x="1183" y="137"/>
                  </a:cubicBezTo>
                  <a:cubicBezTo>
                    <a:pt x="1220" y="137"/>
                    <a:pt x="1250" y="163"/>
                    <a:pt x="1250" y="196"/>
                  </a:cubicBezTo>
                  <a:cubicBezTo>
                    <a:pt x="1250" y="228"/>
                    <a:pt x="1220" y="255"/>
                    <a:pt x="1183" y="255"/>
                  </a:cubicBezTo>
                  <a:cubicBezTo>
                    <a:pt x="1165" y="255"/>
                    <a:pt x="1150" y="265"/>
                    <a:pt x="1143" y="280"/>
                  </a:cubicBezTo>
                  <a:cubicBezTo>
                    <a:pt x="1141" y="286"/>
                    <a:pt x="1139" y="292"/>
                    <a:pt x="1139" y="299"/>
                  </a:cubicBezTo>
                  <a:cubicBezTo>
                    <a:pt x="1139" y="315"/>
                    <a:pt x="1148" y="329"/>
                    <a:pt x="1161" y="336"/>
                  </a:cubicBezTo>
                  <a:cubicBezTo>
                    <a:pt x="1167" y="340"/>
                    <a:pt x="1175" y="343"/>
                    <a:pt x="1183" y="343"/>
                  </a:cubicBezTo>
                  <a:cubicBezTo>
                    <a:pt x="1268" y="343"/>
                    <a:pt x="1338" y="277"/>
                    <a:pt x="1338" y="196"/>
                  </a:cubicBezTo>
                  <a:cubicBezTo>
                    <a:pt x="1338" y="115"/>
                    <a:pt x="1268" y="49"/>
                    <a:pt x="1183" y="49"/>
                  </a:cubicBezTo>
                  <a:cubicBezTo>
                    <a:pt x="953" y="49"/>
                    <a:pt x="953" y="49"/>
                    <a:pt x="953" y="49"/>
                  </a:cubicBezTo>
                  <a:cubicBezTo>
                    <a:pt x="945" y="49"/>
                    <a:pt x="937" y="51"/>
                    <a:pt x="931" y="55"/>
                  </a:cubicBezTo>
                  <a:cubicBezTo>
                    <a:pt x="925" y="58"/>
                    <a:pt x="919" y="62"/>
                    <a:pt x="915" y="67"/>
                  </a:cubicBezTo>
                  <a:cubicBezTo>
                    <a:pt x="906" y="79"/>
                    <a:pt x="903" y="95"/>
                    <a:pt x="907" y="109"/>
                  </a:cubicBezTo>
                  <a:cubicBezTo>
                    <a:pt x="907" y="109"/>
                    <a:pt x="947" y="237"/>
                    <a:pt x="955" y="263"/>
                  </a:cubicBezTo>
                  <a:cubicBezTo>
                    <a:pt x="372" y="263"/>
                    <a:pt x="372" y="263"/>
                    <a:pt x="372" y="263"/>
                  </a:cubicBezTo>
                  <a:cubicBezTo>
                    <a:pt x="294" y="79"/>
                    <a:pt x="294" y="79"/>
                    <a:pt x="294" y="79"/>
                  </a:cubicBezTo>
                  <a:cubicBezTo>
                    <a:pt x="316" y="73"/>
                    <a:pt x="401" y="54"/>
                    <a:pt x="411" y="51"/>
                  </a:cubicBezTo>
                  <a:cubicBezTo>
                    <a:pt x="446" y="42"/>
                    <a:pt x="440" y="0"/>
                    <a:pt x="41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" y="0"/>
                    <a:pt x="68" y="117"/>
                    <a:pt x="157" y="112"/>
                  </a:cubicBezTo>
                  <a:cubicBezTo>
                    <a:pt x="173" y="110"/>
                    <a:pt x="205" y="102"/>
                    <a:pt x="205" y="102"/>
                  </a:cubicBezTo>
                  <a:cubicBezTo>
                    <a:pt x="291" y="305"/>
                    <a:pt x="291" y="305"/>
                    <a:pt x="291" y="305"/>
                  </a:cubicBezTo>
                  <a:cubicBezTo>
                    <a:pt x="8" y="827"/>
                    <a:pt x="8" y="827"/>
                    <a:pt x="8" y="827"/>
                  </a:cubicBezTo>
                  <a:cubicBezTo>
                    <a:pt x="0" y="842"/>
                    <a:pt x="1" y="859"/>
                    <a:pt x="9" y="872"/>
                  </a:cubicBezTo>
                  <a:cubicBezTo>
                    <a:pt x="17" y="886"/>
                    <a:pt x="32" y="894"/>
                    <a:pt x="48" y="894"/>
                  </a:cubicBezTo>
                  <a:cubicBezTo>
                    <a:pt x="579" y="894"/>
                    <a:pt x="579" y="894"/>
                    <a:pt x="579" y="894"/>
                  </a:cubicBezTo>
                  <a:cubicBezTo>
                    <a:pt x="592" y="894"/>
                    <a:pt x="606" y="891"/>
                    <a:pt x="616" y="881"/>
                  </a:cubicBezTo>
                  <a:lnTo>
                    <a:pt x="1022" y="482"/>
                  </a:lnTo>
                  <a:close/>
                  <a:moveTo>
                    <a:pt x="983" y="354"/>
                  </a:moveTo>
                  <a:cubicBezTo>
                    <a:pt x="983" y="355"/>
                    <a:pt x="989" y="375"/>
                    <a:pt x="992" y="385"/>
                  </a:cubicBezTo>
                  <a:cubicBezTo>
                    <a:pt x="599" y="771"/>
                    <a:pt x="599" y="771"/>
                    <a:pt x="599" y="771"/>
                  </a:cubicBezTo>
                  <a:cubicBezTo>
                    <a:pt x="412" y="354"/>
                    <a:pt x="412" y="354"/>
                    <a:pt x="412" y="354"/>
                  </a:cubicBezTo>
                  <a:lnTo>
                    <a:pt x="983" y="354"/>
                  </a:lnTo>
                  <a:close/>
                  <a:moveTo>
                    <a:pt x="124" y="804"/>
                  </a:moveTo>
                  <a:cubicBezTo>
                    <a:pt x="338" y="410"/>
                    <a:pt x="338" y="410"/>
                    <a:pt x="338" y="410"/>
                  </a:cubicBezTo>
                  <a:cubicBezTo>
                    <a:pt x="514" y="804"/>
                    <a:pt x="514" y="804"/>
                    <a:pt x="514" y="804"/>
                  </a:cubicBezTo>
                  <a:lnTo>
                    <a:pt x="124" y="8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60" name="SAGD, Siemens, Motor Vehicle, Auto, Fahrzeug, car, infrastructure, infrastruktur, vehicle"/>
          <p:cNvSpPr>
            <a:spLocks noChangeAspect="1" noEditPoints="1"/>
          </p:cNvSpPr>
          <p:nvPr/>
        </p:nvSpPr>
        <p:spPr bwMode="gray">
          <a:xfrm>
            <a:off x="8659584" y="3346315"/>
            <a:ext cx="459454" cy="368598"/>
          </a:xfrm>
          <a:custGeom>
            <a:avLst/>
            <a:gdLst>
              <a:gd name="T0" fmla="*/ 1020 w 1020"/>
              <a:gd name="T1" fmla="*/ 295 h 703"/>
              <a:gd name="T2" fmla="*/ 1020 w 1020"/>
              <a:gd name="T3" fmla="*/ 250 h 703"/>
              <a:gd name="T4" fmla="*/ 907 w 1020"/>
              <a:gd name="T5" fmla="*/ 250 h 703"/>
              <a:gd name="T6" fmla="*/ 799 w 1020"/>
              <a:gd name="T7" fmla="*/ 52 h 703"/>
              <a:gd name="T8" fmla="*/ 712 w 1020"/>
              <a:gd name="T9" fmla="*/ 0 h 703"/>
              <a:gd name="T10" fmla="*/ 309 w 1020"/>
              <a:gd name="T11" fmla="*/ 0 h 703"/>
              <a:gd name="T12" fmla="*/ 222 w 1020"/>
              <a:gd name="T13" fmla="*/ 52 h 703"/>
              <a:gd name="T14" fmla="*/ 113 w 1020"/>
              <a:gd name="T15" fmla="*/ 250 h 703"/>
              <a:gd name="T16" fmla="*/ 0 w 1020"/>
              <a:gd name="T17" fmla="*/ 250 h 703"/>
              <a:gd name="T18" fmla="*/ 0 w 1020"/>
              <a:gd name="T19" fmla="*/ 295 h 703"/>
              <a:gd name="T20" fmla="*/ 80 w 1020"/>
              <a:gd name="T21" fmla="*/ 340 h 703"/>
              <a:gd name="T22" fmla="*/ 68 w 1020"/>
              <a:gd name="T23" fmla="*/ 454 h 703"/>
              <a:gd name="T24" fmla="*/ 82 w 1020"/>
              <a:gd name="T25" fmla="*/ 658 h 703"/>
              <a:gd name="T26" fmla="*/ 127 w 1020"/>
              <a:gd name="T27" fmla="*/ 703 h 703"/>
              <a:gd name="T28" fmla="*/ 181 w 1020"/>
              <a:gd name="T29" fmla="*/ 703 h 703"/>
              <a:gd name="T30" fmla="*/ 227 w 1020"/>
              <a:gd name="T31" fmla="*/ 651 h 703"/>
              <a:gd name="T32" fmla="*/ 227 w 1020"/>
              <a:gd name="T33" fmla="*/ 590 h 703"/>
              <a:gd name="T34" fmla="*/ 794 w 1020"/>
              <a:gd name="T35" fmla="*/ 590 h 703"/>
              <a:gd name="T36" fmla="*/ 794 w 1020"/>
              <a:gd name="T37" fmla="*/ 651 h 703"/>
              <a:gd name="T38" fmla="*/ 839 w 1020"/>
              <a:gd name="T39" fmla="*/ 703 h 703"/>
              <a:gd name="T40" fmla="*/ 893 w 1020"/>
              <a:gd name="T41" fmla="*/ 703 h 703"/>
              <a:gd name="T42" fmla="*/ 938 w 1020"/>
              <a:gd name="T43" fmla="*/ 658 h 703"/>
              <a:gd name="T44" fmla="*/ 952 w 1020"/>
              <a:gd name="T45" fmla="*/ 454 h 703"/>
              <a:gd name="T46" fmla="*/ 941 w 1020"/>
              <a:gd name="T47" fmla="*/ 340 h 703"/>
              <a:gd name="T48" fmla="*/ 1020 w 1020"/>
              <a:gd name="T49" fmla="*/ 295 h 703"/>
              <a:gd name="T50" fmla="*/ 300 w 1020"/>
              <a:gd name="T51" fmla="*/ 505 h 703"/>
              <a:gd name="T52" fmla="*/ 136 w 1020"/>
              <a:gd name="T53" fmla="*/ 505 h 703"/>
              <a:gd name="T54" fmla="*/ 130 w 1020"/>
              <a:gd name="T55" fmla="*/ 414 h 703"/>
              <a:gd name="T56" fmla="*/ 244 w 1020"/>
              <a:gd name="T57" fmla="*/ 422 h 703"/>
              <a:gd name="T58" fmla="*/ 300 w 1020"/>
              <a:gd name="T59" fmla="*/ 488 h 703"/>
              <a:gd name="T60" fmla="*/ 300 w 1020"/>
              <a:gd name="T61" fmla="*/ 505 h 703"/>
              <a:gd name="T62" fmla="*/ 191 w 1020"/>
              <a:gd name="T63" fmla="*/ 250 h 703"/>
              <a:gd name="T64" fmla="*/ 281 w 1020"/>
              <a:gd name="T65" fmla="*/ 85 h 703"/>
              <a:gd name="T66" fmla="*/ 308 w 1020"/>
              <a:gd name="T67" fmla="*/ 69 h 703"/>
              <a:gd name="T68" fmla="*/ 713 w 1020"/>
              <a:gd name="T69" fmla="*/ 69 h 703"/>
              <a:gd name="T70" fmla="*/ 739 w 1020"/>
              <a:gd name="T71" fmla="*/ 85 h 703"/>
              <a:gd name="T72" fmla="*/ 830 w 1020"/>
              <a:gd name="T73" fmla="*/ 250 h 703"/>
              <a:gd name="T74" fmla="*/ 830 w 1020"/>
              <a:gd name="T75" fmla="*/ 250 h 703"/>
              <a:gd name="T76" fmla="*/ 510 w 1020"/>
              <a:gd name="T77" fmla="*/ 272 h 703"/>
              <a:gd name="T78" fmla="*/ 191 w 1020"/>
              <a:gd name="T79" fmla="*/ 250 h 703"/>
              <a:gd name="T80" fmla="*/ 884 w 1020"/>
              <a:gd name="T81" fmla="*/ 505 h 703"/>
              <a:gd name="T82" fmla="*/ 720 w 1020"/>
              <a:gd name="T83" fmla="*/ 505 h 703"/>
              <a:gd name="T84" fmla="*/ 720 w 1020"/>
              <a:gd name="T85" fmla="*/ 488 h 703"/>
              <a:gd name="T86" fmla="*/ 776 w 1020"/>
              <a:gd name="T87" fmla="*/ 422 h 703"/>
              <a:gd name="T88" fmla="*/ 891 w 1020"/>
              <a:gd name="T89" fmla="*/ 414 h 703"/>
              <a:gd name="T90" fmla="*/ 884 w 1020"/>
              <a:gd name="T91" fmla="*/ 505 h 7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20" h="703">
                <a:moveTo>
                  <a:pt x="1020" y="295"/>
                </a:moveTo>
                <a:cubicBezTo>
                  <a:pt x="1020" y="250"/>
                  <a:pt x="1020" y="250"/>
                  <a:pt x="1020" y="250"/>
                </a:cubicBezTo>
                <a:cubicBezTo>
                  <a:pt x="907" y="250"/>
                  <a:pt x="907" y="250"/>
                  <a:pt x="907" y="250"/>
                </a:cubicBezTo>
                <a:cubicBezTo>
                  <a:pt x="799" y="52"/>
                  <a:pt x="799" y="52"/>
                  <a:pt x="799" y="52"/>
                </a:cubicBezTo>
                <a:cubicBezTo>
                  <a:pt x="779" y="15"/>
                  <a:pt x="754" y="0"/>
                  <a:pt x="712" y="0"/>
                </a:cubicBezTo>
                <a:cubicBezTo>
                  <a:pt x="309" y="0"/>
                  <a:pt x="309" y="0"/>
                  <a:pt x="309" y="0"/>
                </a:cubicBezTo>
                <a:cubicBezTo>
                  <a:pt x="267" y="0"/>
                  <a:pt x="241" y="15"/>
                  <a:pt x="222" y="52"/>
                </a:cubicBezTo>
                <a:cubicBezTo>
                  <a:pt x="113" y="250"/>
                  <a:pt x="113" y="250"/>
                  <a:pt x="113" y="250"/>
                </a:cubicBezTo>
                <a:cubicBezTo>
                  <a:pt x="0" y="250"/>
                  <a:pt x="0" y="250"/>
                  <a:pt x="0" y="250"/>
                </a:cubicBezTo>
                <a:cubicBezTo>
                  <a:pt x="0" y="295"/>
                  <a:pt x="0" y="295"/>
                  <a:pt x="0" y="295"/>
                </a:cubicBezTo>
                <a:cubicBezTo>
                  <a:pt x="80" y="340"/>
                  <a:pt x="80" y="340"/>
                  <a:pt x="80" y="340"/>
                </a:cubicBezTo>
                <a:cubicBezTo>
                  <a:pt x="69" y="380"/>
                  <a:pt x="68" y="395"/>
                  <a:pt x="68" y="454"/>
                </a:cubicBezTo>
                <a:cubicBezTo>
                  <a:pt x="82" y="658"/>
                  <a:pt x="82" y="658"/>
                  <a:pt x="82" y="658"/>
                </a:cubicBezTo>
                <a:cubicBezTo>
                  <a:pt x="85" y="685"/>
                  <a:pt x="102" y="703"/>
                  <a:pt x="127" y="703"/>
                </a:cubicBezTo>
                <a:cubicBezTo>
                  <a:pt x="181" y="703"/>
                  <a:pt x="181" y="703"/>
                  <a:pt x="181" y="703"/>
                </a:cubicBezTo>
                <a:cubicBezTo>
                  <a:pt x="208" y="703"/>
                  <a:pt x="227" y="682"/>
                  <a:pt x="227" y="651"/>
                </a:cubicBezTo>
                <a:cubicBezTo>
                  <a:pt x="227" y="590"/>
                  <a:pt x="227" y="590"/>
                  <a:pt x="227" y="590"/>
                </a:cubicBezTo>
                <a:cubicBezTo>
                  <a:pt x="794" y="590"/>
                  <a:pt x="794" y="590"/>
                  <a:pt x="794" y="590"/>
                </a:cubicBezTo>
                <a:cubicBezTo>
                  <a:pt x="794" y="651"/>
                  <a:pt x="794" y="651"/>
                  <a:pt x="794" y="651"/>
                </a:cubicBezTo>
                <a:cubicBezTo>
                  <a:pt x="794" y="682"/>
                  <a:pt x="812" y="703"/>
                  <a:pt x="839" y="703"/>
                </a:cubicBezTo>
                <a:cubicBezTo>
                  <a:pt x="893" y="703"/>
                  <a:pt x="893" y="703"/>
                  <a:pt x="893" y="703"/>
                </a:cubicBezTo>
                <a:cubicBezTo>
                  <a:pt x="918" y="703"/>
                  <a:pt x="936" y="685"/>
                  <a:pt x="938" y="658"/>
                </a:cubicBezTo>
                <a:cubicBezTo>
                  <a:pt x="952" y="454"/>
                  <a:pt x="952" y="454"/>
                  <a:pt x="952" y="454"/>
                </a:cubicBezTo>
                <a:cubicBezTo>
                  <a:pt x="952" y="395"/>
                  <a:pt x="952" y="380"/>
                  <a:pt x="941" y="340"/>
                </a:cubicBezTo>
                <a:lnTo>
                  <a:pt x="1020" y="295"/>
                </a:lnTo>
                <a:close/>
                <a:moveTo>
                  <a:pt x="300" y="505"/>
                </a:moveTo>
                <a:cubicBezTo>
                  <a:pt x="136" y="505"/>
                  <a:pt x="136" y="505"/>
                  <a:pt x="136" y="505"/>
                </a:cubicBezTo>
                <a:cubicBezTo>
                  <a:pt x="130" y="414"/>
                  <a:pt x="130" y="414"/>
                  <a:pt x="130" y="414"/>
                </a:cubicBezTo>
                <a:cubicBezTo>
                  <a:pt x="244" y="422"/>
                  <a:pt x="244" y="422"/>
                  <a:pt x="244" y="422"/>
                </a:cubicBezTo>
                <a:cubicBezTo>
                  <a:pt x="278" y="423"/>
                  <a:pt x="300" y="450"/>
                  <a:pt x="300" y="488"/>
                </a:cubicBezTo>
                <a:lnTo>
                  <a:pt x="300" y="505"/>
                </a:lnTo>
                <a:close/>
                <a:moveTo>
                  <a:pt x="191" y="250"/>
                </a:moveTo>
                <a:cubicBezTo>
                  <a:pt x="281" y="85"/>
                  <a:pt x="281" y="85"/>
                  <a:pt x="281" y="85"/>
                </a:cubicBezTo>
                <a:cubicBezTo>
                  <a:pt x="289" y="69"/>
                  <a:pt x="291" y="69"/>
                  <a:pt x="308" y="69"/>
                </a:cubicBezTo>
                <a:cubicBezTo>
                  <a:pt x="713" y="69"/>
                  <a:pt x="713" y="69"/>
                  <a:pt x="713" y="69"/>
                </a:cubicBezTo>
                <a:cubicBezTo>
                  <a:pt x="730" y="69"/>
                  <a:pt x="731" y="69"/>
                  <a:pt x="739" y="85"/>
                </a:cubicBezTo>
                <a:cubicBezTo>
                  <a:pt x="830" y="250"/>
                  <a:pt x="830" y="250"/>
                  <a:pt x="830" y="250"/>
                </a:cubicBezTo>
                <a:cubicBezTo>
                  <a:pt x="830" y="250"/>
                  <a:pt x="830" y="250"/>
                  <a:pt x="830" y="250"/>
                </a:cubicBezTo>
                <a:cubicBezTo>
                  <a:pt x="510" y="272"/>
                  <a:pt x="510" y="272"/>
                  <a:pt x="510" y="272"/>
                </a:cubicBezTo>
                <a:lnTo>
                  <a:pt x="191" y="250"/>
                </a:lnTo>
                <a:close/>
                <a:moveTo>
                  <a:pt x="884" y="505"/>
                </a:moveTo>
                <a:cubicBezTo>
                  <a:pt x="720" y="505"/>
                  <a:pt x="720" y="505"/>
                  <a:pt x="720" y="505"/>
                </a:cubicBezTo>
                <a:cubicBezTo>
                  <a:pt x="720" y="488"/>
                  <a:pt x="720" y="488"/>
                  <a:pt x="720" y="488"/>
                </a:cubicBezTo>
                <a:cubicBezTo>
                  <a:pt x="720" y="450"/>
                  <a:pt x="743" y="423"/>
                  <a:pt x="776" y="422"/>
                </a:cubicBezTo>
                <a:cubicBezTo>
                  <a:pt x="891" y="414"/>
                  <a:pt x="891" y="414"/>
                  <a:pt x="891" y="414"/>
                </a:cubicBezTo>
                <a:lnTo>
                  <a:pt x="884" y="5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8" name="SAGD, Siemens, plane, flugzeug, infrastructure, infrastruktur, aerospace, luftraum, vehicle, fahrzeug, verkehr, verkehrsmittel, traffic, airport, flughafen, fliegen, fly"/>
          <p:cNvSpPr>
            <a:spLocks/>
          </p:cNvSpPr>
          <p:nvPr/>
        </p:nvSpPr>
        <p:spPr bwMode="gray">
          <a:xfrm>
            <a:off x="10489450" y="3426172"/>
            <a:ext cx="656070" cy="320951"/>
          </a:xfrm>
          <a:custGeom>
            <a:avLst/>
            <a:gdLst>
              <a:gd name="T0" fmla="*/ 891 w 992"/>
              <a:gd name="T1" fmla="*/ 154 h 465"/>
              <a:gd name="T2" fmla="*/ 972 w 992"/>
              <a:gd name="T3" fmla="*/ 40 h 465"/>
              <a:gd name="T4" fmla="*/ 834 w 992"/>
              <a:gd name="T5" fmla="*/ 31 h 465"/>
              <a:gd name="T6" fmla="*/ 653 w 992"/>
              <a:gd name="T7" fmla="*/ 116 h 465"/>
              <a:gd name="T8" fmla="*/ 254 w 992"/>
              <a:gd name="T9" fmla="*/ 5 h 465"/>
              <a:gd name="T10" fmla="*/ 218 w 992"/>
              <a:gd name="T11" fmla="*/ 52 h 465"/>
              <a:gd name="T12" fmla="*/ 397 w 992"/>
              <a:gd name="T13" fmla="*/ 237 h 465"/>
              <a:gd name="T14" fmla="*/ 232 w 992"/>
              <a:gd name="T15" fmla="*/ 315 h 465"/>
              <a:gd name="T16" fmla="*/ 29 w 992"/>
              <a:gd name="T17" fmla="*/ 237 h 465"/>
              <a:gd name="T18" fmla="*/ 0 w 992"/>
              <a:gd name="T19" fmla="*/ 272 h 465"/>
              <a:gd name="T20" fmla="*/ 117 w 992"/>
              <a:gd name="T21" fmla="*/ 385 h 465"/>
              <a:gd name="T22" fmla="*/ 276 w 992"/>
              <a:gd name="T23" fmla="*/ 443 h 465"/>
              <a:gd name="T24" fmla="*/ 891 w 992"/>
              <a:gd name="T25" fmla="*/ 154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92" h="465">
                <a:moveTo>
                  <a:pt x="891" y="154"/>
                </a:moveTo>
                <a:cubicBezTo>
                  <a:pt x="924" y="137"/>
                  <a:pt x="992" y="80"/>
                  <a:pt x="972" y="40"/>
                </a:cubicBezTo>
                <a:cubicBezTo>
                  <a:pt x="954" y="0"/>
                  <a:pt x="868" y="16"/>
                  <a:pt x="834" y="31"/>
                </a:cubicBezTo>
                <a:cubicBezTo>
                  <a:pt x="653" y="116"/>
                  <a:pt x="653" y="116"/>
                  <a:pt x="653" y="116"/>
                </a:cubicBezTo>
                <a:cubicBezTo>
                  <a:pt x="254" y="5"/>
                  <a:pt x="254" y="5"/>
                  <a:pt x="254" y="5"/>
                </a:cubicBezTo>
                <a:cubicBezTo>
                  <a:pt x="218" y="52"/>
                  <a:pt x="218" y="52"/>
                  <a:pt x="218" y="52"/>
                </a:cubicBezTo>
                <a:cubicBezTo>
                  <a:pt x="397" y="237"/>
                  <a:pt x="397" y="237"/>
                  <a:pt x="397" y="237"/>
                </a:cubicBezTo>
                <a:cubicBezTo>
                  <a:pt x="232" y="315"/>
                  <a:pt x="232" y="315"/>
                  <a:pt x="232" y="315"/>
                </a:cubicBezTo>
                <a:cubicBezTo>
                  <a:pt x="29" y="237"/>
                  <a:pt x="29" y="237"/>
                  <a:pt x="29" y="237"/>
                </a:cubicBezTo>
                <a:cubicBezTo>
                  <a:pt x="0" y="272"/>
                  <a:pt x="0" y="272"/>
                  <a:pt x="0" y="272"/>
                </a:cubicBezTo>
                <a:cubicBezTo>
                  <a:pt x="117" y="385"/>
                  <a:pt x="117" y="385"/>
                  <a:pt x="117" y="385"/>
                </a:cubicBezTo>
                <a:cubicBezTo>
                  <a:pt x="162" y="428"/>
                  <a:pt x="230" y="465"/>
                  <a:pt x="276" y="443"/>
                </a:cubicBezTo>
                <a:cubicBezTo>
                  <a:pt x="312" y="426"/>
                  <a:pt x="891" y="154"/>
                  <a:pt x="891" y="15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1" name="SAGD, Siemens, Vehicle, Verkehrsmittel, Verkehr, train, tram, bahn, infastructure, infrastruktur, öffentlich, public, verbindung, connection"/>
          <p:cNvSpPr>
            <a:spLocks noChangeAspect="1" noEditPoints="1"/>
          </p:cNvSpPr>
          <p:nvPr/>
        </p:nvSpPr>
        <p:spPr bwMode="gray">
          <a:xfrm>
            <a:off x="9756939" y="3293263"/>
            <a:ext cx="301737" cy="484906"/>
          </a:xfrm>
          <a:custGeom>
            <a:avLst/>
            <a:gdLst>
              <a:gd name="T0" fmla="*/ 432 w 479"/>
              <a:gd name="T1" fmla="*/ 691 h 771"/>
              <a:gd name="T2" fmla="*/ 66 w 479"/>
              <a:gd name="T3" fmla="*/ 646 h 771"/>
              <a:gd name="T4" fmla="*/ 47 w 479"/>
              <a:gd name="T5" fmla="*/ 771 h 771"/>
              <a:gd name="T6" fmla="*/ 138 w 479"/>
              <a:gd name="T7" fmla="*/ 725 h 771"/>
              <a:gd name="T8" fmla="*/ 47 w 479"/>
              <a:gd name="T9" fmla="*/ 771 h 771"/>
              <a:gd name="T10" fmla="*/ 373 w 479"/>
              <a:gd name="T11" fmla="*/ 771 h 771"/>
              <a:gd name="T12" fmla="*/ 400 w 479"/>
              <a:gd name="T13" fmla="*/ 725 h 771"/>
              <a:gd name="T14" fmla="*/ 477 w 479"/>
              <a:gd name="T15" fmla="*/ 385 h 771"/>
              <a:gd name="T16" fmla="*/ 408 w 479"/>
              <a:gd name="T17" fmla="*/ 612 h 771"/>
              <a:gd name="T18" fmla="*/ 16 w 479"/>
              <a:gd name="T19" fmla="*/ 566 h 771"/>
              <a:gd name="T20" fmla="*/ 12 w 479"/>
              <a:gd name="T21" fmla="*/ 293 h 771"/>
              <a:gd name="T22" fmla="*/ 217 w 479"/>
              <a:gd name="T23" fmla="*/ 102 h 771"/>
              <a:gd name="T24" fmla="*/ 115 w 479"/>
              <a:gd name="T25" fmla="*/ 45 h 771"/>
              <a:gd name="T26" fmla="*/ 364 w 479"/>
              <a:gd name="T27" fmla="*/ 0 h 771"/>
              <a:gd name="T28" fmla="*/ 262 w 479"/>
              <a:gd name="T29" fmla="*/ 45 h 771"/>
              <a:gd name="T30" fmla="*/ 395 w 479"/>
              <a:gd name="T31" fmla="*/ 136 h 771"/>
              <a:gd name="T32" fmla="*/ 477 w 479"/>
              <a:gd name="T33" fmla="*/ 385 h 771"/>
              <a:gd name="T34" fmla="*/ 115 w 479"/>
              <a:gd name="T35" fmla="*/ 498 h 771"/>
              <a:gd name="T36" fmla="*/ 115 w 479"/>
              <a:gd name="T37" fmla="*/ 567 h 771"/>
              <a:gd name="T38" fmla="*/ 217 w 479"/>
              <a:gd name="T39" fmla="*/ 238 h 771"/>
              <a:gd name="T40" fmla="*/ 55 w 479"/>
              <a:gd name="T41" fmla="*/ 306 h 771"/>
              <a:gd name="T42" fmla="*/ 54 w 479"/>
              <a:gd name="T43" fmla="*/ 308 h 771"/>
              <a:gd name="T44" fmla="*/ 47 w 479"/>
              <a:gd name="T45" fmla="*/ 383 h 771"/>
              <a:gd name="T46" fmla="*/ 217 w 479"/>
              <a:gd name="T47" fmla="*/ 453 h 771"/>
              <a:gd name="T48" fmla="*/ 341 w 479"/>
              <a:gd name="T49" fmla="*/ 193 h 771"/>
              <a:gd name="T50" fmla="*/ 137 w 479"/>
              <a:gd name="T51" fmla="*/ 146 h 771"/>
              <a:gd name="T52" fmla="*/ 341 w 479"/>
              <a:gd name="T53" fmla="*/ 193 h 771"/>
              <a:gd name="T54" fmla="*/ 363 w 479"/>
              <a:gd name="T55" fmla="*/ 498 h 771"/>
              <a:gd name="T56" fmla="*/ 363 w 479"/>
              <a:gd name="T57" fmla="*/ 567 h 771"/>
              <a:gd name="T58" fmla="*/ 424 w 479"/>
              <a:gd name="T59" fmla="*/ 308 h 771"/>
              <a:gd name="T60" fmla="*/ 424 w 479"/>
              <a:gd name="T61" fmla="*/ 306 h 771"/>
              <a:gd name="T62" fmla="*/ 262 w 479"/>
              <a:gd name="T63" fmla="*/ 238 h 771"/>
              <a:gd name="T64" fmla="*/ 426 w 479"/>
              <a:gd name="T65" fmla="*/ 453 h 771"/>
              <a:gd name="T66" fmla="*/ 432 w 479"/>
              <a:gd name="T67" fmla="*/ 376 h 7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79" h="771">
                <a:moveTo>
                  <a:pt x="413" y="646"/>
                </a:moveTo>
                <a:cubicBezTo>
                  <a:pt x="432" y="691"/>
                  <a:pt x="432" y="691"/>
                  <a:pt x="432" y="691"/>
                </a:cubicBezTo>
                <a:cubicBezTo>
                  <a:pt x="47" y="691"/>
                  <a:pt x="47" y="691"/>
                  <a:pt x="47" y="691"/>
                </a:cubicBezTo>
                <a:cubicBezTo>
                  <a:pt x="66" y="646"/>
                  <a:pt x="66" y="646"/>
                  <a:pt x="66" y="646"/>
                </a:cubicBezTo>
                <a:lnTo>
                  <a:pt x="413" y="646"/>
                </a:lnTo>
                <a:close/>
                <a:moveTo>
                  <a:pt x="47" y="771"/>
                </a:moveTo>
                <a:cubicBezTo>
                  <a:pt x="105" y="771"/>
                  <a:pt x="105" y="771"/>
                  <a:pt x="105" y="771"/>
                </a:cubicBezTo>
                <a:cubicBezTo>
                  <a:pt x="138" y="725"/>
                  <a:pt x="138" y="725"/>
                  <a:pt x="138" y="725"/>
                </a:cubicBezTo>
                <a:cubicBezTo>
                  <a:pt x="79" y="725"/>
                  <a:pt x="79" y="725"/>
                  <a:pt x="79" y="725"/>
                </a:cubicBezTo>
                <a:lnTo>
                  <a:pt x="47" y="771"/>
                </a:lnTo>
                <a:close/>
                <a:moveTo>
                  <a:pt x="341" y="725"/>
                </a:moveTo>
                <a:cubicBezTo>
                  <a:pt x="373" y="771"/>
                  <a:pt x="373" y="771"/>
                  <a:pt x="373" y="771"/>
                </a:cubicBezTo>
                <a:cubicBezTo>
                  <a:pt x="432" y="771"/>
                  <a:pt x="432" y="771"/>
                  <a:pt x="432" y="771"/>
                </a:cubicBezTo>
                <a:cubicBezTo>
                  <a:pt x="400" y="725"/>
                  <a:pt x="400" y="725"/>
                  <a:pt x="400" y="725"/>
                </a:cubicBezTo>
                <a:lnTo>
                  <a:pt x="341" y="725"/>
                </a:lnTo>
                <a:close/>
                <a:moveTo>
                  <a:pt x="477" y="385"/>
                </a:moveTo>
                <a:cubicBezTo>
                  <a:pt x="463" y="566"/>
                  <a:pt x="463" y="566"/>
                  <a:pt x="463" y="566"/>
                </a:cubicBezTo>
                <a:cubicBezTo>
                  <a:pt x="460" y="594"/>
                  <a:pt x="439" y="612"/>
                  <a:pt x="408" y="612"/>
                </a:cubicBezTo>
                <a:cubicBezTo>
                  <a:pt x="71" y="612"/>
                  <a:pt x="71" y="612"/>
                  <a:pt x="71" y="612"/>
                </a:cubicBezTo>
                <a:cubicBezTo>
                  <a:pt x="40" y="612"/>
                  <a:pt x="18" y="594"/>
                  <a:pt x="16" y="566"/>
                </a:cubicBezTo>
                <a:cubicBezTo>
                  <a:pt x="1" y="385"/>
                  <a:pt x="1" y="385"/>
                  <a:pt x="1" y="385"/>
                </a:cubicBezTo>
                <a:cubicBezTo>
                  <a:pt x="1" y="349"/>
                  <a:pt x="0" y="325"/>
                  <a:pt x="12" y="293"/>
                </a:cubicBezTo>
                <a:cubicBezTo>
                  <a:pt x="12" y="293"/>
                  <a:pt x="46" y="177"/>
                  <a:pt x="84" y="136"/>
                </a:cubicBezTo>
                <a:cubicBezTo>
                  <a:pt x="109" y="109"/>
                  <a:pt x="177" y="103"/>
                  <a:pt x="217" y="102"/>
                </a:cubicBezTo>
                <a:cubicBezTo>
                  <a:pt x="217" y="45"/>
                  <a:pt x="217" y="45"/>
                  <a:pt x="217" y="45"/>
                </a:cubicBezTo>
                <a:cubicBezTo>
                  <a:pt x="115" y="45"/>
                  <a:pt x="115" y="45"/>
                  <a:pt x="115" y="45"/>
                </a:cubicBezTo>
                <a:cubicBezTo>
                  <a:pt x="115" y="0"/>
                  <a:pt x="115" y="0"/>
                  <a:pt x="115" y="0"/>
                </a:cubicBezTo>
                <a:cubicBezTo>
                  <a:pt x="364" y="0"/>
                  <a:pt x="364" y="0"/>
                  <a:pt x="364" y="0"/>
                </a:cubicBezTo>
                <a:cubicBezTo>
                  <a:pt x="364" y="45"/>
                  <a:pt x="364" y="45"/>
                  <a:pt x="364" y="45"/>
                </a:cubicBezTo>
                <a:cubicBezTo>
                  <a:pt x="262" y="45"/>
                  <a:pt x="262" y="45"/>
                  <a:pt x="262" y="45"/>
                </a:cubicBezTo>
                <a:cubicBezTo>
                  <a:pt x="262" y="102"/>
                  <a:pt x="262" y="102"/>
                  <a:pt x="262" y="102"/>
                </a:cubicBezTo>
                <a:cubicBezTo>
                  <a:pt x="301" y="103"/>
                  <a:pt x="370" y="109"/>
                  <a:pt x="395" y="136"/>
                </a:cubicBezTo>
                <a:cubicBezTo>
                  <a:pt x="433" y="177"/>
                  <a:pt x="467" y="293"/>
                  <a:pt x="467" y="293"/>
                </a:cubicBezTo>
                <a:cubicBezTo>
                  <a:pt x="479" y="325"/>
                  <a:pt x="477" y="349"/>
                  <a:pt x="477" y="385"/>
                </a:cubicBezTo>
                <a:close/>
                <a:moveTo>
                  <a:pt x="149" y="532"/>
                </a:moveTo>
                <a:cubicBezTo>
                  <a:pt x="149" y="513"/>
                  <a:pt x="134" y="498"/>
                  <a:pt x="115" y="498"/>
                </a:cubicBezTo>
                <a:cubicBezTo>
                  <a:pt x="96" y="498"/>
                  <a:pt x="80" y="513"/>
                  <a:pt x="80" y="532"/>
                </a:cubicBezTo>
                <a:cubicBezTo>
                  <a:pt x="80" y="552"/>
                  <a:pt x="96" y="567"/>
                  <a:pt x="115" y="567"/>
                </a:cubicBezTo>
                <a:cubicBezTo>
                  <a:pt x="134" y="567"/>
                  <a:pt x="149" y="552"/>
                  <a:pt x="149" y="532"/>
                </a:cubicBezTo>
                <a:close/>
                <a:moveTo>
                  <a:pt x="217" y="238"/>
                </a:moveTo>
                <a:cubicBezTo>
                  <a:pt x="79" y="238"/>
                  <a:pt x="79" y="238"/>
                  <a:pt x="79" y="238"/>
                </a:cubicBezTo>
                <a:cubicBezTo>
                  <a:pt x="70" y="261"/>
                  <a:pt x="61" y="286"/>
                  <a:pt x="55" y="306"/>
                </a:cubicBezTo>
                <a:cubicBezTo>
                  <a:pt x="55" y="307"/>
                  <a:pt x="55" y="307"/>
                  <a:pt x="55" y="307"/>
                </a:cubicBezTo>
                <a:cubicBezTo>
                  <a:pt x="54" y="308"/>
                  <a:pt x="54" y="308"/>
                  <a:pt x="54" y="308"/>
                </a:cubicBezTo>
                <a:cubicBezTo>
                  <a:pt x="47" y="330"/>
                  <a:pt x="47" y="348"/>
                  <a:pt x="47" y="376"/>
                </a:cubicBezTo>
                <a:cubicBezTo>
                  <a:pt x="47" y="378"/>
                  <a:pt x="47" y="381"/>
                  <a:pt x="47" y="383"/>
                </a:cubicBezTo>
                <a:cubicBezTo>
                  <a:pt x="52" y="453"/>
                  <a:pt x="52" y="453"/>
                  <a:pt x="52" y="453"/>
                </a:cubicBezTo>
                <a:cubicBezTo>
                  <a:pt x="217" y="453"/>
                  <a:pt x="217" y="453"/>
                  <a:pt x="217" y="453"/>
                </a:cubicBezTo>
                <a:lnTo>
                  <a:pt x="217" y="238"/>
                </a:lnTo>
                <a:close/>
                <a:moveTo>
                  <a:pt x="341" y="193"/>
                </a:moveTo>
                <a:cubicBezTo>
                  <a:pt x="341" y="146"/>
                  <a:pt x="341" y="146"/>
                  <a:pt x="341" y="146"/>
                </a:cubicBezTo>
                <a:cubicBezTo>
                  <a:pt x="137" y="146"/>
                  <a:pt x="137" y="146"/>
                  <a:pt x="137" y="146"/>
                </a:cubicBezTo>
                <a:cubicBezTo>
                  <a:pt x="137" y="193"/>
                  <a:pt x="137" y="193"/>
                  <a:pt x="137" y="193"/>
                </a:cubicBezTo>
                <a:lnTo>
                  <a:pt x="341" y="193"/>
                </a:lnTo>
                <a:close/>
                <a:moveTo>
                  <a:pt x="398" y="532"/>
                </a:moveTo>
                <a:cubicBezTo>
                  <a:pt x="398" y="513"/>
                  <a:pt x="382" y="498"/>
                  <a:pt x="363" y="498"/>
                </a:cubicBezTo>
                <a:cubicBezTo>
                  <a:pt x="344" y="498"/>
                  <a:pt x="329" y="513"/>
                  <a:pt x="329" y="532"/>
                </a:cubicBezTo>
                <a:cubicBezTo>
                  <a:pt x="329" y="552"/>
                  <a:pt x="344" y="567"/>
                  <a:pt x="363" y="567"/>
                </a:cubicBezTo>
                <a:cubicBezTo>
                  <a:pt x="382" y="567"/>
                  <a:pt x="398" y="552"/>
                  <a:pt x="398" y="532"/>
                </a:cubicBezTo>
                <a:close/>
                <a:moveTo>
                  <a:pt x="424" y="308"/>
                </a:moveTo>
                <a:cubicBezTo>
                  <a:pt x="424" y="307"/>
                  <a:pt x="424" y="307"/>
                  <a:pt x="424" y="307"/>
                </a:cubicBezTo>
                <a:cubicBezTo>
                  <a:pt x="424" y="306"/>
                  <a:pt x="424" y="306"/>
                  <a:pt x="424" y="306"/>
                </a:cubicBezTo>
                <a:cubicBezTo>
                  <a:pt x="418" y="286"/>
                  <a:pt x="409" y="261"/>
                  <a:pt x="400" y="238"/>
                </a:cubicBezTo>
                <a:cubicBezTo>
                  <a:pt x="262" y="238"/>
                  <a:pt x="262" y="238"/>
                  <a:pt x="262" y="238"/>
                </a:cubicBezTo>
                <a:cubicBezTo>
                  <a:pt x="262" y="453"/>
                  <a:pt x="262" y="453"/>
                  <a:pt x="262" y="453"/>
                </a:cubicBezTo>
                <a:cubicBezTo>
                  <a:pt x="426" y="453"/>
                  <a:pt x="426" y="453"/>
                  <a:pt x="426" y="453"/>
                </a:cubicBezTo>
                <a:cubicBezTo>
                  <a:pt x="432" y="383"/>
                  <a:pt x="432" y="383"/>
                  <a:pt x="432" y="383"/>
                </a:cubicBezTo>
                <a:cubicBezTo>
                  <a:pt x="432" y="381"/>
                  <a:pt x="432" y="379"/>
                  <a:pt x="432" y="376"/>
                </a:cubicBezTo>
                <a:cubicBezTo>
                  <a:pt x="432" y="348"/>
                  <a:pt x="432" y="330"/>
                  <a:pt x="424" y="30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7" name="Titel 3"/>
          <p:cNvSpPr txBox="1">
            <a:spLocks/>
          </p:cNvSpPr>
          <p:nvPr/>
        </p:nvSpPr>
        <p:spPr bwMode="auto">
          <a:xfrm>
            <a:off x="9200160" y="2787679"/>
            <a:ext cx="1569440" cy="2634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1400" kern="0" dirty="0"/>
              <a:t>km / lifetime</a:t>
            </a:r>
          </a:p>
        </p:txBody>
      </p:sp>
      <p:grpSp>
        <p:nvGrpSpPr>
          <p:cNvPr id="584" name="reisen, verreisen, Koffer, gehen, fliehen"/>
          <p:cNvGrpSpPr>
            <a:grpSpLocks/>
          </p:cNvGrpSpPr>
          <p:nvPr/>
        </p:nvGrpSpPr>
        <p:grpSpPr bwMode="gray">
          <a:xfrm>
            <a:off x="6896560" y="3346314"/>
            <a:ext cx="288000" cy="360000"/>
            <a:chOff x="3852863" y="793750"/>
            <a:chExt cx="1004887" cy="1495425"/>
          </a:xfrm>
          <a:solidFill>
            <a:schemeClr val="bg1"/>
          </a:solidFill>
        </p:grpSpPr>
        <p:sp>
          <p:nvSpPr>
            <p:cNvPr id="585" name="Freeform 20"/>
            <p:cNvSpPr>
              <a:spLocks/>
            </p:cNvSpPr>
            <p:nvPr/>
          </p:nvSpPr>
          <p:spPr bwMode="gray">
            <a:xfrm>
              <a:off x="3852863" y="1065213"/>
              <a:ext cx="1004887" cy="1223962"/>
            </a:xfrm>
            <a:custGeom>
              <a:avLst/>
              <a:gdLst>
                <a:gd name="T0" fmla="*/ 2147483647 w 413"/>
                <a:gd name="T1" fmla="*/ 2147483647 h 504"/>
                <a:gd name="T2" fmla="*/ 2147483647 w 413"/>
                <a:gd name="T3" fmla="*/ 2147483647 h 504"/>
                <a:gd name="T4" fmla="*/ 2147483647 w 413"/>
                <a:gd name="T5" fmla="*/ 2147483647 h 504"/>
                <a:gd name="T6" fmla="*/ 2147483647 w 413"/>
                <a:gd name="T7" fmla="*/ 2147483647 h 504"/>
                <a:gd name="T8" fmla="*/ 2147483647 w 413"/>
                <a:gd name="T9" fmla="*/ 2147483647 h 504"/>
                <a:gd name="T10" fmla="*/ 2147483647 w 413"/>
                <a:gd name="T11" fmla="*/ 2147483647 h 504"/>
                <a:gd name="T12" fmla="*/ 2147483647 w 413"/>
                <a:gd name="T13" fmla="*/ 2147483647 h 504"/>
                <a:gd name="T14" fmla="*/ 2147483647 w 413"/>
                <a:gd name="T15" fmla="*/ 2147483647 h 504"/>
                <a:gd name="T16" fmla="*/ 2147483647 w 413"/>
                <a:gd name="T17" fmla="*/ 2147483647 h 504"/>
                <a:gd name="T18" fmla="*/ 2147483647 w 413"/>
                <a:gd name="T19" fmla="*/ 2147483647 h 504"/>
                <a:gd name="T20" fmla="*/ 2147483647 w 413"/>
                <a:gd name="T21" fmla="*/ 2147483647 h 504"/>
                <a:gd name="T22" fmla="*/ 2147483647 w 413"/>
                <a:gd name="T23" fmla="*/ 2147483647 h 504"/>
                <a:gd name="T24" fmla="*/ 2147483647 w 413"/>
                <a:gd name="T25" fmla="*/ 2147483647 h 504"/>
                <a:gd name="T26" fmla="*/ 2147483647 w 413"/>
                <a:gd name="T27" fmla="*/ 2147483647 h 504"/>
                <a:gd name="T28" fmla="*/ 2147483647 w 413"/>
                <a:gd name="T29" fmla="*/ 2147483647 h 504"/>
                <a:gd name="T30" fmla="*/ 2147483647 w 413"/>
                <a:gd name="T31" fmla="*/ 2147483647 h 504"/>
                <a:gd name="T32" fmla="*/ 2147483647 w 413"/>
                <a:gd name="T33" fmla="*/ 2147483647 h 504"/>
                <a:gd name="T34" fmla="*/ 2147483647 w 413"/>
                <a:gd name="T35" fmla="*/ 2147483647 h 504"/>
                <a:gd name="T36" fmla="*/ 2147483647 w 413"/>
                <a:gd name="T37" fmla="*/ 2147483647 h 504"/>
                <a:gd name="T38" fmla="*/ 2147483647 w 413"/>
                <a:gd name="T39" fmla="*/ 2147483647 h 504"/>
                <a:gd name="T40" fmla="*/ 2147483647 w 413"/>
                <a:gd name="T41" fmla="*/ 2147483647 h 504"/>
                <a:gd name="T42" fmla="*/ 2147483647 w 413"/>
                <a:gd name="T43" fmla="*/ 2147483647 h 504"/>
                <a:gd name="T44" fmla="*/ 2147483647 w 413"/>
                <a:gd name="T45" fmla="*/ 2147483647 h 504"/>
                <a:gd name="T46" fmla="*/ 2147483647 w 413"/>
                <a:gd name="T47" fmla="*/ 2147483647 h 504"/>
                <a:gd name="T48" fmla="*/ 2147483647 w 413"/>
                <a:gd name="T49" fmla="*/ 2147483647 h 504"/>
                <a:gd name="T50" fmla="*/ 2147483647 w 413"/>
                <a:gd name="T51" fmla="*/ 2147483647 h 504"/>
                <a:gd name="T52" fmla="*/ 2147483647 w 413"/>
                <a:gd name="T53" fmla="*/ 2147483647 h 504"/>
                <a:gd name="T54" fmla="*/ 2147483647 w 413"/>
                <a:gd name="T55" fmla="*/ 2147483647 h 504"/>
                <a:gd name="T56" fmla="*/ 2147483647 w 413"/>
                <a:gd name="T57" fmla="*/ 2147483647 h 504"/>
                <a:gd name="T58" fmla="*/ 2147483647 w 413"/>
                <a:gd name="T59" fmla="*/ 2147483647 h 504"/>
                <a:gd name="T60" fmla="*/ 2147483647 w 413"/>
                <a:gd name="T61" fmla="*/ 2147483647 h 504"/>
                <a:gd name="T62" fmla="*/ 2147483647 w 413"/>
                <a:gd name="T63" fmla="*/ 2147483647 h 504"/>
                <a:gd name="T64" fmla="*/ 2147483647 w 413"/>
                <a:gd name="T65" fmla="*/ 2147483647 h 504"/>
                <a:gd name="T66" fmla="*/ 2147483647 w 413"/>
                <a:gd name="T67" fmla="*/ 2147483647 h 504"/>
                <a:gd name="T68" fmla="*/ 2147483647 w 413"/>
                <a:gd name="T69" fmla="*/ 2147483647 h 504"/>
                <a:gd name="T70" fmla="*/ 2147483647 w 413"/>
                <a:gd name="T71" fmla="*/ 2147483647 h 50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413" h="504">
                  <a:moveTo>
                    <a:pt x="258" y="42"/>
                  </a:moveTo>
                  <a:cubicBezTo>
                    <a:pt x="244" y="15"/>
                    <a:pt x="215" y="0"/>
                    <a:pt x="187" y="2"/>
                  </a:cubicBezTo>
                  <a:cubicBezTo>
                    <a:pt x="183" y="3"/>
                    <a:pt x="179" y="3"/>
                    <a:pt x="175" y="5"/>
                  </a:cubicBezTo>
                  <a:cubicBezTo>
                    <a:pt x="169" y="6"/>
                    <a:pt x="164" y="8"/>
                    <a:pt x="159" y="11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56" y="63"/>
                    <a:pt x="52" y="69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19" y="177"/>
                    <a:pt x="19" y="177"/>
                    <a:pt x="19" y="177"/>
                  </a:cubicBezTo>
                  <a:cubicBezTo>
                    <a:pt x="9" y="210"/>
                    <a:pt x="56" y="225"/>
                    <a:pt x="66" y="192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130" y="81"/>
                    <a:pt x="130" y="81"/>
                    <a:pt x="130" y="81"/>
                  </a:cubicBezTo>
                  <a:cubicBezTo>
                    <a:pt x="71" y="341"/>
                    <a:pt x="71" y="341"/>
                    <a:pt x="71" y="341"/>
                  </a:cubicBezTo>
                  <a:cubicBezTo>
                    <a:pt x="6" y="451"/>
                    <a:pt x="6" y="451"/>
                    <a:pt x="6" y="451"/>
                  </a:cubicBezTo>
                  <a:cubicBezTo>
                    <a:pt x="4" y="454"/>
                    <a:pt x="2" y="460"/>
                    <a:pt x="1" y="465"/>
                  </a:cubicBezTo>
                  <a:cubicBezTo>
                    <a:pt x="0" y="484"/>
                    <a:pt x="14" y="501"/>
                    <a:pt x="33" y="502"/>
                  </a:cubicBezTo>
                  <a:cubicBezTo>
                    <a:pt x="46" y="503"/>
                    <a:pt x="58" y="496"/>
                    <a:pt x="65" y="485"/>
                  </a:cubicBezTo>
                  <a:cubicBezTo>
                    <a:pt x="135" y="367"/>
                    <a:pt x="135" y="367"/>
                    <a:pt x="135" y="367"/>
                  </a:cubicBezTo>
                  <a:cubicBezTo>
                    <a:pt x="136" y="364"/>
                    <a:pt x="141" y="356"/>
                    <a:pt x="142" y="353"/>
                  </a:cubicBezTo>
                  <a:cubicBezTo>
                    <a:pt x="159" y="275"/>
                    <a:pt x="159" y="275"/>
                    <a:pt x="159" y="275"/>
                  </a:cubicBezTo>
                  <a:cubicBezTo>
                    <a:pt x="232" y="355"/>
                    <a:pt x="232" y="355"/>
                    <a:pt x="232" y="355"/>
                  </a:cubicBezTo>
                  <a:cubicBezTo>
                    <a:pt x="255" y="475"/>
                    <a:pt x="255" y="475"/>
                    <a:pt x="255" y="475"/>
                  </a:cubicBezTo>
                  <a:cubicBezTo>
                    <a:pt x="258" y="489"/>
                    <a:pt x="270" y="501"/>
                    <a:pt x="286" y="502"/>
                  </a:cubicBezTo>
                  <a:cubicBezTo>
                    <a:pt x="305" y="504"/>
                    <a:pt x="321" y="490"/>
                    <a:pt x="323" y="471"/>
                  </a:cubicBezTo>
                  <a:cubicBezTo>
                    <a:pt x="323" y="468"/>
                    <a:pt x="322" y="467"/>
                    <a:pt x="322" y="464"/>
                  </a:cubicBezTo>
                  <a:cubicBezTo>
                    <a:pt x="298" y="335"/>
                    <a:pt x="298" y="335"/>
                    <a:pt x="298" y="335"/>
                  </a:cubicBezTo>
                  <a:cubicBezTo>
                    <a:pt x="297" y="332"/>
                    <a:pt x="296" y="328"/>
                    <a:pt x="294" y="325"/>
                  </a:cubicBezTo>
                  <a:cubicBezTo>
                    <a:pt x="206" y="220"/>
                    <a:pt x="206" y="220"/>
                    <a:pt x="206" y="220"/>
                  </a:cubicBezTo>
                  <a:cubicBezTo>
                    <a:pt x="233" y="99"/>
                    <a:pt x="233" y="99"/>
                    <a:pt x="233" y="99"/>
                  </a:cubicBezTo>
                  <a:cubicBezTo>
                    <a:pt x="247" y="125"/>
                    <a:pt x="247" y="125"/>
                    <a:pt x="247" y="125"/>
                  </a:cubicBezTo>
                  <a:cubicBezTo>
                    <a:pt x="249" y="129"/>
                    <a:pt x="249" y="129"/>
                    <a:pt x="249" y="129"/>
                  </a:cubicBezTo>
                  <a:cubicBezTo>
                    <a:pt x="249" y="129"/>
                    <a:pt x="249" y="129"/>
                    <a:pt x="249" y="129"/>
                  </a:cubicBezTo>
                  <a:cubicBezTo>
                    <a:pt x="252" y="134"/>
                    <a:pt x="256" y="139"/>
                    <a:pt x="264" y="142"/>
                  </a:cubicBezTo>
                  <a:cubicBezTo>
                    <a:pt x="363" y="181"/>
                    <a:pt x="363" y="181"/>
                    <a:pt x="363" y="181"/>
                  </a:cubicBezTo>
                  <a:cubicBezTo>
                    <a:pt x="395" y="193"/>
                    <a:pt x="413" y="147"/>
                    <a:pt x="381" y="135"/>
                  </a:cubicBezTo>
                  <a:cubicBezTo>
                    <a:pt x="290" y="99"/>
                    <a:pt x="290" y="99"/>
                    <a:pt x="290" y="99"/>
                  </a:cubicBezTo>
                  <a:lnTo>
                    <a:pt x="258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6" name="Oval 21"/>
            <p:cNvSpPr>
              <a:spLocks noChangeArrowheads="1"/>
            </p:cNvSpPr>
            <p:nvPr/>
          </p:nvSpPr>
          <p:spPr bwMode="gray">
            <a:xfrm>
              <a:off x="4276725" y="793750"/>
              <a:ext cx="254000" cy="2555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4439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4A9C56B8-90B1-432B-83E7-7790F9A2FC94"/>
          <p:cNvPicPr>
            <a:picLocks noChangeAspect="1" noChangeArrowheads="1"/>
          </p:cNvPicPr>
          <p:nvPr/>
        </p:nvPicPr>
        <p:blipFill rotWithShape="1">
          <a:blip r:embed="rId3"/>
          <a:srcRect l="6149" r="11750"/>
          <a:stretch/>
        </p:blipFill>
        <p:spPr bwMode="gray">
          <a:xfrm>
            <a:off x="0" y="0"/>
            <a:ext cx="1220741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Box 4"/>
          <p:cNvSpPr txBox="1"/>
          <p:nvPr/>
        </p:nvSpPr>
        <p:spPr bwMode="gray">
          <a:xfrm>
            <a:off x="7491069" y="2849908"/>
            <a:ext cx="1834956" cy="579092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36000" tIns="53999" rIns="36000" bIns="5399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4763">
              <a:lnSpc>
                <a:spcPct val="110000"/>
              </a:lnSpc>
              <a:spcBef>
                <a:spcPts val="0"/>
              </a:spcBef>
              <a:defRPr sz="4400" b="1">
                <a:solidFill>
                  <a:srgbClr val="FFFFFF"/>
                </a:solidFill>
              </a:defRPr>
            </a:lvl1pPr>
            <a:lvl2pPr marL="0" lvl="1" algn="ctr">
              <a:defRPr sz="1600" b="1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Intermodality </a:t>
            </a:r>
          </a:p>
        </p:txBody>
      </p:sp>
      <p:sp>
        <p:nvSpPr>
          <p:cNvPr id="22" name="TextBox 4"/>
          <p:cNvSpPr txBox="1"/>
          <p:nvPr/>
        </p:nvSpPr>
        <p:spPr bwMode="gray">
          <a:xfrm>
            <a:off x="1387882" y="3435238"/>
            <a:ext cx="1999632" cy="64800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36000" tIns="53999" rIns="36000" bIns="5399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4763">
              <a:lnSpc>
                <a:spcPct val="110000"/>
              </a:lnSpc>
              <a:spcBef>
                <a:spcPts val="0"/>
              </a:spcBef>
              <a:defRPr sz="4400" b="1">
                <a:solidFill>
                  <a:srgbClr val="FFFFFF"/>
                </a:solidFill>
              </a:defRPr>
            </a:lvl1pPr>
            <a:lvl2pPr marL="0" lvl="1" algn="ctr">
              <a:defRPr sz="1600" b="1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Mobility as a Service</a:t>
            </a:r>
          </a:p>
        </p:txBody>
      </p:sp>
      <p:sp>
        <p:nvSpPr>
          <p:cNvPr id="23" name="TextBox 4"/>
          <p:cNvSpPr txBox="1"/>
          <p:nvPr/>
        </p:nvSpPr>
        <p:spPr bwMode="gray">
          <a:xfrm>
            <a:off x="4907510" y="3543812"/>
            <a:ext cx="1801138" cy="598418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36000" tIns="53999" rIns="36000" bIns="5399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4763">
              <a:lnSpc>
                <a:spcPct val="110000"/>
              </a:lnSpc>
              <a:spcBef>
                <a:spcPts val="0"/>
              </a:spcBef>
              <a:defRPr sz="4400" b="1">
                <a:solidFill>
                  <a:srgbClr val="FFFFFF"/>
                </a:solidFill>
              </a:defRPr>
            </a:lvl1pPr>
            <a:lvl2pPr marL="0" lvl="1" algn="ctr">
              <a:defRPr sz="1600" b="1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Mobility on Demand </a:t>
            </a:r>
          </a:p>
        </p:txBody>
      </p:sp>
      <p:sp>
        <p:nvSpPr>
          <p:cNvPr id="24" name="TextBox 4"/>
          <p:cNvSpPr txBox="1"/>
          <p:nvPr/>
        </p:nvSpPr>
        <p:spPr bwMode="gray">
          <a:xfrm>
            <a:off x="9657787" y="5626697"/>
            <a:ext cx="1701157" cy="64800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36000" tIns="53999" rIns="36000" bIns="5399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4763">
              <a:lnSpc>
                <a:spcPct val="110000"/>
              </a:lnSpc>
              <a:spcBef>
                <a:spcPts val="0"/>
              </a:spcBef>
              <a:defRPr sz="4400" b="1">
                <a:solidFill>
                  <a:srgbClr val="FFFFFF"/>
                </a:solidFill>
              </a:defRPr>
            </a:lvl1pPr>
            <a:lvl2pPr marL="0" lvl="1" algn="ctr">
              <a:defRPr sz="1600" b="1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Sharing Economy</a:t>
            </a:r>
          </a:p>
        </p:txBody>
      </p:sp>
      <p:sp>
        <p:nvSpPr>
          <p:cNvPr id="25" name="TextBox 4"/>
          <p:cNvSpPr txBox="1"/>
          <p:nvPr/>
        </p:nvSpPr>
        <p:spPr bwMode="gray">
          <a:xfrm>
            <a:off x="10135471" y="2787238"/>
            <a:ext cx="1701158" cy="64800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36000" tIns="53999" rIns="36000" bIns="5399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4763">
              <a:lnSpc>
                <a:spcPct val="110000"/>
              </a:lnSpc>
              <a:spcBef>
                <a:spcPts val="0"/>
              </a:spcBef>
              <a:defRPr sz="4400" b="1">
                <a:solidFill>
                  <a:srgbClr val="FFFFFF"/>
                </a:solidFill>
              </a:defRPr>
            </a:lvl1pPr>
            <a:lvl2pPr marL="0" lvl="1" algn="ctr">
              <a:defRPr sz="1600" b="1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Autonomous Driving</a:t>
            </a:r>
          </a:p>
        </p:txBody>
      </p:sp>
      <p:sp>
        <p:nvSpPr>
          <p:cNvPr id="26" name="AutoShape 24"/>
          <p:cNvSpPr>
            <a:spLocks noChangeArrowheads="1"/>
          </p:cNvSpPr>
          <p:nvPr/>
        </p:nvSpPr>
        <p:spPr bwMode="gray">
          <a:xfrm>
            <a:off x="1060362" y="1354019"/>
            <a:ext cx="2152184" cy="648000"/>
          </a:xfrm>
          <a:prstGeom prst="wedgeRectCallout">
            <a:avLst>
              <a:gd name="adj1" fmla="val -34689"/>
              <a:gd name="adj2" fmla="val -11014"/>
            </a:avLst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36000" tIns="53999" rIns="36000" bIns="53999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n-US" sz="1600" b="1" dirty="0">
                <a:solidFill>
                  <a:schemeClr val="bg1"/>
                </a:solidFill>
              </a:rPr>
              <a:t>IT-based capacity maximization </a:t>
            </a:r>
          </a:p>
        </p:txBody>
      </p:sp>
      <p:sp>
        <p:nvSpPr>
          <p:cNvPr id="27" name="TextBox 4"/>
          <p:cNvSpPr txBox="1"/>
          <p:nvPr/>
        </p:nvSpPr>
        <p:spPr bwMode="gray">
          <a:xfrm>
            <a:off x="2595380" y="4896376"/>
            <a:ext cx="1584268" cy="536961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36000" tIns="53999" rIns="36000" bIns="5399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4763">
              <a:lnSpc>
                <a:spcPct val="110000"/>
              </a:lnSpc>
              <a:spcBef>
                <a:spcPts val="0"/>
              </a:spcBef>
              <a:defRPr sz="4400" b="1">
                <a:solidFill>
                  <a:srgbClr val="FFFFFF"/>
                </a:solidFill>
              </a:defRPr>
            </a:lvl1pPr>
            <a:lvl2pPr marL="0" lvl="1" algn="ctr">
              <a:defRPr sz="1600" b="1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E-Mobility</a:t>
            </a:r>
          </a:p>
        </p:txBody>
      </p:sp>
      <p:sp>
        <p:nvSpPr>
          <p:cNvPr id="28" name="TextBox 4"/>
          <p:cNvSpPr txBox="1"/>
          <p:nvPr/>
        </p:nvSpPr>
        <p:spPr bwMode="gray">
          <a:xfrm>
            <a:off x="5222470" y="1678019"/>
            <a:ext cx="2034919" cy="64800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36000" tIns="53999" rIns="36000" bIns="5399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4763">
              <a:lnSpc>
                <a:spcPct val="110000"/>
              </a:lnSpc>
              <a:spcBef>
                <a:spcPts val="0"/>
              </a:spcBef>
              <a:defRPr sz="4400" b="1">
                <a:solidFill>
                  <a:srgbClr val="FFFFFF"/>
                </a:solidFill>
              </a:defRPr>
            </a:lvl1pPr>
            <a:lvl2pPr marL="0" lvl="1" algn="ctr">
              <a:defRPr sz="1600" b="1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Passenger Experience</a:t>
            </a:r>
          </a:p>
        </p:txBody>
      </p:sp>
      <p:sp>
        <p:nvSpPr>
          <p:cNvPr id="29" name="TextBox 4"/>
          <p:cNvSpPr txBox="1"/>
          <p:nvPr/>
        </p:nvSpPr>
        <p:spPr bwMode="gray">
          <a:xfrm>
            <a:off x="7951871" y="4320139"/>
            <a:ext cx="2091996" cy="598418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36000" tIns="53999" rIns="36000" bIns="5399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4763">
              <a:lnSpc>
                <a:spcPct val="110000"/>
              </a:lnSpc>
              <a:spcBef>
                <a:spcPts val="0"/>
              </a:spcBef>
              <a:defRPr sz="4400" b="1">
                <a:solidFill>
                  <a:srgbClr val="FFFFFF"/>
                </a:solidFill>
              </a:defRPr>
            </a:lvl1pPr>
            <a:lvl2pPr marL="0" lvl="1" algn="ctr">
              <a:defRPr sz="1600" b="1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Demand Responsive Transport</a:t>
            </a:r>
          </a:p>
        </p:txBody>
      </p:sp>
      <p:sp>
        <p:nvSpPr>
          <p:cNvPr id="30" name="TextBox 4"/>
          <p:cNvSpPr txBox="1"/>
          <p:nvPr/>
        </p:nvSpPr>
        <p:spPr bwMode="gray">
          <a:xfrm>
            <a:off x="8857198" y="1170310"/>
            <a:ext cx="1834956" cy="507709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36000" tIns="53999" rIns="36000" bIns="5399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4763">
              <a:lnSpc>
                <a:spcPct val="110000"/>
              </a:lnSpc>
              <a:spcBef>
                <a:spcPts val="0"/>
              </a:spcBef>
              <a:defRPr sz="4400" b="1">
                <a:solidFill>
                  <a:srgbClr val="FFFFFF"/>
                </a:solidFill>
              </a:defRPr>
            </a:lvl1pPr>
            <a:lvl2pPr marL="0" lvl="1" algn="ctr">
              <a:defRPr sz="1600" b="1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Rail</a:t>
            </a:r>
          </a:p>
        </p:txBody>
      </p:sp>
      <p:sp>
        <p:nvSpPr>
          <p:cNvPr id="31" name="TextBox 4"/>
          <p:cNvSpPr txBox="1"/>
          <p:nvPr/>
        </p:nvSpPr>
        <p:spPr bwMode="gray">
          <a:xfrm>
            <a:off x="4528742" y="4487268"/>
            <a:ext cx="1834956" cy="554057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36000" tIns="53999" rIns="36000" bIns="5399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4763">
              <a:lnSpc>
                <a:spcPct val="110000"/>
              </a:lnSpc>
              <a:spcBef>
                <a:spcPts val="0"/>
              </a:spcBef>
              <a:defRPr sz="4400" b="1">
                <a:solidFill>
                  <a:srgbClr val="FFFFFF"/>
                </a:solidFill>
              </a:defRPr>
            </a:lvl1pPr>
            <a:lvl2pPr marL="0" lvl="1" algn="ctr">
              <a:defRPr sz="1600" b="1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Road</a:t>
            </a:r>
          </a:p>
        </p:txBody>
      </p:sp>
    </p:spTree>
    <p:extLst>
      <p:ext uri="{BB962C8B-B14F-4D97-AF65-F5344CB8AC3E}">
        <p14:creationId xmlns:p14="http://schemas.microsoft.com/office/powerpoint/2010/main" val="3166765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815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3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travel</a:t>
            </a:r>
            <a:r>
              <a:rPr lang="de-DE" dirty="0"/>
              <a:t> </a:t>
            </a:r>
            <a:r>
              <a:rPr lang="de-DE" dirty="0" err="1"/>
              <a:t>behaviou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assengers</a:t>
            </a:r>
            <a:r>
              <a:rPr lang="de-DE" dirty="0"/>
              <a:t> in </a:t>
            </a:r>
            <a:r>
              <a:rPr lang="de-DE" dirty="0" err="1"/>
              <a:t>today´s</a:t>
            </a:r>
            <a:r>
              <a:rPr lang="de-DE" dirty="0"/>
              <a:t> </a:t>
            </a:r>
            <a:r>
              <a:rPr lang="de-DE" dirty="0" err="1"/>
              <a:t>interconnected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driven</a:t>
            </a:r>
            <a:r>
              <a:rPr lang="de-DE" dirty="0"/>
              <a:t> </a:t>
            </a:r>
            <a:r>
              <a:rPr lang="de-DE" dirty="0" err="1"/>
              <a:t>mobility</a:t>
            </a:r>
            <a:r>
              <a:rPr lang="de-DE" dirty="0"/>
              <a:t> </a:t>
            </a:r>
            <a:r>
              <a:rPr lang="de-DE" dirty="0" err="1"/>
              <a:t>era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changed</a:t>
            </a:r>
            <a:endParaRPr lang="en-US" dirty="0"/>
          </a:p>
        </p:txBody>
      </p:sp>
      <p:sp>
        <p:nvSpPr>
          <p:cNvPr id="63" name="Titel 3"/>
          <p:cNvSpPr txBox="1">
            <a:spLocks/>
          </p:cNvSpPr>
          <p:nvPr/>
        </p:nvSpPr>
        <p:spPr bwMode="auto">
          <a:xfrm>
            <a:off x="605669" y="1702102"/>
            <a:ext cx="3633387" cy="526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de-DE" b="0" kern="0" dirty="0" err="1"/>
              <a:t>One</a:t>
            </a:r>
            <a:r>
              <a:rPr lang="de-DE" b="0" kern="0" dirty="0"/>
              <a:t> </a:t>
            </a:r>
            <a:r>
              <a:rPr lang="de-DE" b="0" kern="0" dirty="0" err="1"/>
              <a:t>single</a:t>
            </a:r>
            <a:r>
              <a:rPr lang="de-DE" b="0" kern="0" dirty="0"/>
              <a:t> </a:t>
            </a:r>
            <a:r>
              <a:rPr lang="de-DE" b="0" kern="0" dirty="0" err="1"/>
              <a:t>interface</a:t>
            </a:r>
            <a:endParaRPr lang="en-US" b="0" kern="0" dirty="0"/>
          </a:p>
        </p:txBody>
      </p:sp>
      <p:grpSp>
        <p:nvGrpSpPr>
          <p:cNvPr id="14" name="Gruppieren 13"/>
          <p:cNvGrpSpPr/>
          <p:nvPr/>
        </p:nvGrpSpPr>
        <p:grpSpPr>
          <a:xfrm>
            <a:off x="4737547" y="1541434"/>
            <a:ext cx="2578674" cy="4876800"/>
            <a:chOff x="4749360" y="1476375"/>
            <a:chExt cx="2887741" cy="4876800"/>
          </a:xfrm>
        </p:grpSpPr>
        <p:sp>
          <p:nvSpPr>
            <p:cNvPr id="10" name="Abgerundetes Rechteck 9"/>
            <p:cNvSpPr/>
            <p:nvPr/>
          </p:nvSpPr>
          <p:spPr bwMode="auto">
            <a:xfrm>
              <a:off x="4749360" y="1476375"/>
              <a:ext cx="2887741" cy="48768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rgbClr val="005F87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Rechteck 10"/>
            <p:cNvSpPr/>
            <p:nvPr/>
          </p:nvSpPr>
          <p:spPr bwMode="auto">
            <a:xfrm>
              <a:off x="4988251" y="1906499"/>
              <a:ext cx="2409958" cy="399382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12" name="Ellipse 11"/>
            <p:cNvSpPr/>
            <p:nvPr/>
          </p:nvSpPr>
          <p:spPr bwMode="auto">
            <a:xfrm>
              <a:off x="6046223" y="5981700"/>
              <a:ext cx="331322" cy="276225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1197656" y="2395339"/>
            <a:ext cx="10310307" cy="3134976"/>
            <a:chOff x="1178606" y="2395339"/>
            <a:chExt cx="10310307" cy="3134976"/>
          </a:xfrm>
        </p:grpSpPr>
        <p:pic>
          <p:nvPicPr>
            <p:cNvPr id="20" name="Picture 4" descr="M:\Bildmaterial\Grafiken\Aline\Produkticons\prodbuntkreisx200\prod_bus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39551" y="3566232"/>
              <a:ext cx="797187" cy="7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6" descr="M:\Bildmaterial\Grafiken\Aline\Produkticons\prodbuntkreisx200\prod_fern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0896" y="3580740"/>
              <a:ext cx="797187" cy="7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7" descr="M:\Bildmaterial\Grafiken\Aline\Produkticons\prodbuntkreisx200\prod_walk2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6371" y="3566233"/>
              <a:ext cx="797187" cy="7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8" descr="M:\Bildmaterial\Grafiken\Aline\Produkticons\prodbuntkreisx200\prod_car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2517" y="3566233"/>
              <a:ext cx="797187" cy="7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9" descr="M:\Bildmaterial\Grafiken\Aline\Produkticons\prodbuntkreisx200\prod_bike2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8662" y="3566233"/>
              <a:ext cx="797187" cy="7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0" descr="M:\Bildmaterial\Grafiken\Aline\Produkticons\prodbuntkreisx200\prod_taxi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4805" y="3566233"/>
              <a:ext cx="797187" cy="7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0" name="Gerade Verbindung 29"/>
            <p:cNvCxnSpPr/>
            <p:nvPr/>
          </p:nvCxnSpPr>
          <p:spPr bwMode="auto">
            <a:xfrm>
              <a:off x="1862834" y="4336885"/>
              <a:ext cx="0" cy="623547"/>
            </a:xfrm>
            <a:prstGeom prst="line">
              <a:avLst/>
            </a:prstGeom>
            <a:solidFill>
              <a:schemeClr val="accent1"/>
            </a:solidFill>
            <a:ln w="44450" cap="rnd" cmpd="sng" algn="ctr">
              <a:solidFill>
                <a:schemeClr val="bg1">
                  <a:lumMod val="7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31" name="Picture 11" descr="M:\Bildmaterial\Grafiken\Aline\Produkticons\prodbuntkreisx200\prod_plane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13959" y="3566233"/>
              <a:ext cx="797187" cy="7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Textfeld 31"/>
            <p:cNvSpPr txBox="1"/>
            <p:nvPr/>
          </p:nvSpPr>
          <p:spPr>
            <a:xfrm>
              <a:off x="1178606" y="5007095"/>
              <a:ext cx="155272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dirty="0" err="1">
                  <a:solidFill>
                    <a:srgbClr val="4BB9B9"/>
                  </a:solidFill>
                </a:rPr>
                <a:t>Walk</a:t>
              </a:r>
              <a:endParaRPr lang="de-DE" sz="1400" dirty="0">
                <a:solidFill>
                  <a:srgbClr val="4BB9B9"/>
                </a:solidFill>
              </a:endParaRPr>
            </a:p>
          </p:txBody>
        </p:sp>
        <p:cxnSp>
          <p:nvCxnSpPr>
            <p:cNvPr id="33" name="Gerade Verbindung 32"/>
            <p:cNvCxnSpPr/>
            <p:nvPr/>
          </p:nvCxnSpPr>
          <p:spPr bwMode="auto">
            <a:xfrm>
              <a:off x="3547046" y="4353430"/>
              <a:ext cx="0" cy="623547"/>
            </a:xfrm>
            <a:prstGeom prst="line">
              <a:avLst/>
            </a:prstGeom>
            <a:solidFill>
              <a:schemeClr val="accent1"/>
            </a:solidFill>
            <a:ln w="44450" cap="rnd" cmpd="sng" algn="ctr">
              <a:solidFill>
                <a:schemeClr val="bg1">
                  <a:lumMod val="7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/>
          </p:nvCxnSpPr>
          <p:spPr bwMode="auto">
            <a:xfrm>
              <a:off x="2752153" y="2922580"/>
              <a:ext cx="0" cy="623547"/>
            </a:xfrm>
            <a:prstGeom prst="line">
              <a:avLst/>
            </a:prstGeom>
            <a:solidFill>
              <a:schemeClr val="accent1"/>
            </a:solidFill>
            <a:ln w="44450" cap="rnd" cmpd="sng" algn="ctr">
              <a:solidFill>
                <a:schemeClr val="bg1">
                  <a:lumMod val="7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5" name="Textfeld 34"/>
            <p:cNvSpPr txBox="1"/>
            <p:nvPr/>
          </p:nvSpPr>
          <p:spPr>
            <a:xfrm>
              <a:off x="2770686" y="5007095"/>
              <a:ext cx="155272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dirty="0">
                  <a:solidFill>
                    <a:srgbClr val="4BB9B9"/>
                  </a:solidFill>
                </a:rPr>
                <a:t>Bike</a:t>
              </a:r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4969920" y="5007095"/>
              <a:ext cx="125965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dirty="0">
                  <a:solidFill>
                    <a:srgbClr val="4BB9B9"/>
                  </a:solidFill>
                </a:rPr>
                <a:t>Long </a:t>
              </a:r>
              <a:r>
                <a:rPr lang="de-DE" sz="1400" dirty="0" err="1">
                  <a:solidFill>
                    <a:srgbClr val="4BB9B9"/>
                  </a:solidFill>
                </a:rPr>
                <a:t>distance</a:t>
              </a:r>
              <a:r>
                <a:rPr lang="de-DE" sz="1400" dirty="0">
                  <a:solidFill>
                    <a:srgbClr val="4BB9B9"/>
                  </a:solidFill>
                </a:rPr>
                <a:t> </a:t>
              </a:r>
              <a:r>
                <a:rPr lang="de-DE" sz="1400" dirty="0" err="1">
                  <a:solidFill>
                    <a:srgbClr val="4BB9B9"/>
                  </a:solidFill>
                </a:rPr>
                <a:t>bus</a:t>
              </a:r>
              <a:endParaRPr lang="de-DE" sz="1400" dirty="0">
                <a:solidFill>
                  <a:srgbClr val="4BB9B9"/>
                </a:solidFill>
              </a:endParaRPr>
            </a:p>
          </p:txBody>
        </p:sp>
        <p:sp>
          <p:nvSpPr>
            <p:cNvPr id="37" name="Textfeld 36"/>
            <p:cNvSpPr txBox="1"/>
            <p:nvPr/>
          </p:nvSpPr>
          <p:spPr>
            <a:xfrm>
              <a:off x="8362644" y="2523603"/>
              <a:ext cx="155272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dirty="0" err="1">
                  <a:solidFill>
                    <a:srgbClr val="4BB9B9"/>
                  </a:solidFill>
                </a:rPr>
                <a:t>Bike&amp;Ride</a:t>
              </a:r>
              <a:endParaRPr lang="de-DE" sz="1400" dirty="0">
                <a:solidFill>
                  <a:srgbClr val="4BB9B9"/>
                </a:solidFill>
              </a:endParaRPr>
            </a:p>
          </p:txBody>
        </p:sp>
        <p:sp>
          <p:nvSpPr>
            <p:cNvPr id="38" name="Textfeld 37"/>
            <p:cNvSpPr txBox="1"/>
            <p:nvPr/>
          </p:nvSpPr>
          <p:spPr>
            <a:xfrm>
              <a:off x="7354322" y="2395339"/>
              <a:ext cx="89432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dirty="0">
                  <a:solidFill>
                    <a:srgbClr val="4BB9B9"/>
                  </a:solidFill>
                </a:rPr>
                <a:t>Bike                Sharing</a:t>
              </a:r>
            </a:p>
          </p:txBody>
        </p:sp>
        <p:sp>
          <p:nvSpPr>
            <p:cNvPr id="40" name="Textfeld 39"/>
            <p:cNvSpPr txBox="1"/>
            <p:nvPr/>
          </p:nvSpPr>
          <p:spPr>
            <a:xfrm>
              <a:off x="1975792" y="2538214"/>
              <a:ext cx="155272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dirty="0">
                  <a:solidFill>
                    <a:srgbClr val="4BB9B9"/>
                  </a:solidFill>
                </a:rPr>
                <a:t>Car</a:t>
              </a:r>
            </a:p>
          </p:txBody>
        </p:sp>
        <p:sp>
          <p:nvSpPr>
            <p:cNvPr id="41" name="Textfeld 40"/>
            <p:cNvSpPr txBox="1"/>
            <p:nvPr/>
          </p:nvSpPr>
          <p:spPr>
            <a:xfrm>
              <a:off x="3567872" y="2532750"/>
              <a:ext cx="155272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dirty="0">
                  <a:solidFill>
                    <a:srgbClr val="4BB9B9"/>
                  </a:solidFill>
                </a:rPr>
                <a:t>Taxi</a:t>
              </a:r>
            </a:p>
          </p:txBody>
        </p:sp>
        <p:sp>
          <p:nvSpPr>
            <p:cNvPr id="42" name="Textfeld 41"/>
            <p:cNvSpPr txBox="1"/>
            <p:nvPr/>
          </p:nvSpPr>
          <p:spPr>
            <a:xfrm>
              <a:off x="5163129" y="2534991"/>
              <a:ext cx="155272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dirty="0">
                  <a:solidFill>
                    <a:srgbClr val="4BB9B9"/>
                  </a:solidFill>
                </a:rPr>
                <a:t>Public Transport</a:t>
              </a:r>
            </a:p>
          </p:txBody>
        </p:sp>
        <p:sp>
          <p:nvSpPr>
            <p:cNvPr id="43" name="Textfeld 42"/>
            <p:cNvSpPr txBox="1"/>
            <p:nvPr/>
          </p:nvSpPr>
          <p:spPr>
            <a:xfrm>
              <a:off x="6338083" y="5007095"/>
              <a:ext cx="85047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dirty="0">
                  <a:solidFill>
                    <a:srgbClr val="4BB9B9"/>
                  </a:solidFill>
                </a:rPr>
                <a:t>Car            Sharing</a:t>
              </a:r>
            </a:p>
          </p:txBody>
        </p:sp>
        <p:sp>
          <p:nvSpPr>
            <p:cNvPr id="44" name="Textfeld 43"/>
            <p:cNvSpPr txBox="1"/>
            <p:nvPr/>
          </p:nvSpPr>
          <p:spPr>
            <a:xfrm>
              <a:off x="7526934" y="5006426"/>
              <a:ext cx="155272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dirty="0">
                  <a:solidFill>
                    <a:srgbClr val="4BB9B9"/>
                  </a:solidFill>
                </a:rPr>
                <a:t>Carpooling</a:t>
              </a:r>
            </a:p>
          </p:txBody>
        </p:sp>
        <p:cxnSp>
          <p:nvCxnSpPr>
            <p:cNvPr id="45" name="Gerade Verbindung 44"/>
            <p:cNvCxnSpPr/>
            <p:nvPr/>
          </p:nvCxnSpPr>
          <p:spPr bwMode="auto">
            <a:xfrm>
              <a:off x="5139125" y="4355678"/>
              <a:ext cx="0" cy="623547"/>
            </a:xfrm>
            <a:prstGeom prst="line">
              <a:avLst/>
            </a:prstGeom>
            <a:solidFill>
              <a:schemeClr val="accent1"/>
            </a:solidFill>
            <a:ln w="44450" cap="rnd" cmpd="sng" algn="ctr">
              <a:solidFill>
                <a:schemeClr val="bg1">
                  <a:lumMod val="7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/>
          </p:nvCxnSpPr>
          <p:spPr bwMode="auto">
            <a:xfrm>
              <a:off x="6731205" y="4357925"/>
              <a:ext cx="0" cy="623547"/>
            </a:xfrm>
            <a:prstGeom prst="line">
              <a:avLst/>
            </a:prstGeom>
            <a:solidFill>
              <a:schemeClr val="accent1"/>
            </a:solidFill>
            <a:ln w="44450" cap="rnd" cmpd="sng" algn="ctr">
              <a:solidFill>
                <a:schemeClr val="bg1">
                  <a:lumMod val="7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/>
          </p:nvCxnSpPr>
          <p:spPr bwMode="auto">
            <a:xfrm>
              <a:off x="8323285" y="4360173"/>
              <a:ext cx="0" cy="623547"/>
            </a:xfrm>
            <a:prstGeom prst="line">
              <a:avLst/>
            </a:prstGeom>
            <a:solidFill>
              <a:schemeClr val="accent1"/>
            </a:solidFill>
            <a:ln w="44450" cap="rnd" cmpd="sng" algn="ctr">
              <a:solidFill>
                <a:schemeClr val="bg1">
                  <a:lumMod val="7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/>
          </p:nvCxnSpPr>
          <p:spPr bwMode="auto">
            <a:xfrm>
              <a:off x="9915365" y="4362422"/>
              <a:ext cx="0" cy="623547"/>
            </a:xfrm>
            <a:prstGeom prst="line">
              <a:avLst/>
            </a:prstGeom>
            <a:solidFill>
              <a:schemeClr val="accent1"/>
            </a:solidFill>
            <a:ln w="44450" cap="rnd" cmpd="sng" algn="ctr">
              <a:solidFill>
                <a:schemeClr val="bg1">
                  <a:lumMod val="7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9" name="Textfeld 48"/>
            <p:cNvSpPr txBox="1"/>
            <p:nvPr/>
          </p:nvSpPr>
          <p:spPr>
            <a:xfrm>
              <a:off x="9936192" y="2533378"/>
              <a:ext cx="155272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dirty="0">
                  <a:solidFill>
                    <a:srgbClr val="4BB9B9"/>
                  </a:solidFill>
                </a:rPr>
                <a:t>Flight</a:t>
              </a:r>
            </a:p>
          </p:txBody>
        </p:sp>
        <p:cxnSp>
          <p:nvCxnSpPr>
            <p:cNvPr id="50" name="Gerade Verbindung 49"/>
            <p:cNvCxnSpPr/>
            <p:nvPr/>
          </p:nvCxnSpPr>
          <p:spPr bwMode="auto">
            <a:xfrm>
              <a:off x="4345821" y="2917793"/>
              <a:ext cx="0" cy="623547"/>
            </a:xfrm>
            <a:prstGeom prst="line">
              <a:avLst/>
            </a:prstGeom>
            <a:solidFill>
              <a:schemeClr val="accent1"/>
            </a:solidFill>
            <a:ln w="44450" cap="rnd" cmpd="sng" algn="ctr">
              <a:solidFill>
                <a:schemeClr val="bg1">
                  <a:lumMod val="7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/>
          </p:nvCxnSpPr>
          <p:spPr bwMode="auto">
            <a:xfrm>
              <a:off x="5939490" y="2913007"/>
              <a:ext cx="0" cy="623547"/>
            </a:xfrm>
            <a:prstGeom prst="line">
              <a:avLst/>
            </a:prstGeom>
            <a:solidFill>
              <a:schemeClr val="accent1"/>
            </a:solidFill>
            <a:ln w="44450" cap="rnd" cmpd="sng" algn="ctr">
              <a:solidFill>
                <a:schemeClr val="bg1">
                  <a:lumMod val="7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/>
          </p:nvCxnSpPr>
          <p:spPr bwMode="auto">
            <a:xfrm>
              <a:off x="7533159" y="2908221"/>
              <a:ext cx="0" cy="623547"/>
            </a:xfrm>
            <a:prstGeom prst="line">
              <a:avLst/>
            </a:prstGeom>
            <a:solidFill>
              <a:schemeClr val="accent1"/>
            </a:solidFill>
            <a:ln w="44450" cap="rnd" cmpd="sng" algn="ctr">
              <a:solidFill>
                <a:schemeClr val="bg1">
                  <a:lumMod val="7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/>
          </p:nvCxnSpPr>
          <p:spPr bwMode="auto">
            <a:xfrm>
              <a:off x="9126827" y="2903436"/>
              <a:ext cx="0" cy="623547"/>
            </a:xfrm>
            <a:prstGeom prst="line">
              <a:avLst/>
            </a:prstGeom>
            <a:solidFill>
              <a:schemeClr val="accent1"/>
            </a:solidFill>
            <a:ln w="44450" cap="rnd" cmpd="sng" algn="ctr">
              <a:solidFill>
                <a:schemeClr val="bg1">
                  <a:lumMod val="7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/>
          </p:nvCxnSpPr>
          <p:spPr bwMode="auto">
            <a:xfrm>
              <a:off x="10720493" y="2898650"/>
              <a:ext cx="0" cy="623547"/>
            </a:xfrm>
            <a:prstGeom prst="line">
              <a:avLst/>
            </a:prstGeom>
            <a:solidFill>
              <a:schemeClr val="accent1"/>
            </a:solidFill>
            <a:ln w="44450" cap="rnd" cmpd="sng" algn="ctr">
              <a:solidFill>
                <a:schemeClr val="bg1">
                  <a:lumMod val="7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55" name="Picture 2" descr="M:\Bildmaterial\Grafiken\Aline\Produkticons\prodbuntkreisx200\p+r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37598" y="3582989"/>
              <a:ext cx="797187" cy="7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3" descr="M:\Bildmaterial\Grafiken\Aline\Produkticons\prodbuntkreisx200\bike+r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21672" y="3582989"/>
              <a:ext cx="797187" cy="7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4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332196" y="3582989"/>
              <a:ext cx="797187" cy="7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5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7128341" y="3582989"/>
              <a:ext cx="797187" cy="7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6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7924485" y="3582989"/>
              <a:ext cx="797187" cy="7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4" name="Textfeld 63"/>
            <p:cNvSpPr txBox="1"/>
            <p:nvPr/>
          </p:nvSpPr>
          <p:spPr>
            <a:xfrm>
              <a:off x="9185206" y="5005669"/>
              <a:ext cx="155272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dirty="0" err="1">
                  <a:solidFill>
                    <a:srgbClr val="4BB9B9"/>
                  </a:solidFill>
                </a:rPr>
                <a:t>Park&amp;Ride</a:t>
              </a:r>
              <a:endParaRPr lang="de-DE" sz="1400" dirty="0">
                <a:solidFill>
                  <a:srgbClr val="4BB9B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4491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c Transport Operators are now facing competition and need to deliver digital, reliable, individual and affordable solutions …</a:t>
            </a:r>
          </a:p>
        </p:txBody>
      </p:sp>
      <p:sp>
        <p:nvSpPr>
          <p:cNvPr id="6" name="Textfeld 5"/>
          <p:cNvSpPr txBox="1">
            <a:spLocks/>
          </p:cNvSpPr>
          <p:nvPr/>
        </p:nvSpPr>
        <p:spPr bwMode="gray">
          <a:xfrm>
            <a:off x="4644402" y="2281705"/>
            <a:ext cx="3128044" cy="31280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>
            <a:prstTxWarp prst="textCircle">
              <a:avLst>
                <a:gd name="adj" fmla="val 13694565"/>
              </a:avLst>
            </a:prstTxWarp>
            <a:spAutoFit/>
          </a:bodyPr>
          <a:lstStyle/>
          <a:p>
            <a:pPr>
              <a:spcBef>
                <a:spcPts val="0"/>
              </a:spcBef>
            </a:pPr>
            <a:r>
              <a:rPr lang="en-US" sz="800" b="1" spc="30" dirty="0">
                <a:solidFill>
                  <a:srgbClr val="FFFFFF"/>
                </a:solidFill>
                <a:latin typeface="Siemens Slab" pitchFamily="2" charset="0"/>
              </a:rPr>
              <a:t>100010110110101010101101011011010101011011010100101001011010011011001001101010110110001101</a:t>
            </a:r>
          </a:p>
        </p:txBody>
      </p:sp>
      <p:sp>
        <p:nvSpPr>
          <p:cNvPr id="7" name="Textfeld 6"/>
          <p:cNvSpPr txBox="1">
            <a:spLocks/>
          </p:cNvSpPr>
          <p:nvPr/>
        </p:nvSpPr>
        <p:spPr bwMode="gray">
          <a:xfrm>
            <a:off x="4838671" y="2475974"/>
            <a:ext cx="2739506" cy="27395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>
            <a:prstTxWarp prst="textCircle">
              <a:avLst>
                <a:gd name="adj" fmla="val 1590816"/>
              </a:avLst>
            </a:prstTxWarp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b="1" spc="30" dirty="0">
                <a:solidFill>
                  <a:srgbClr val="FFFFFF"/>
                </a:solidFill>
                <a:latin typeface="Siemens Slab" pitchFamily="2" charset="0"/>
              </a:rPr>
              <a:t>010110010110101011100101101101010101001011011010100101101001010110101101</a:t>
            </a:r>
          </a:p>
        </p:txBody>
      </p:sp>
      <p:sp>
        <p:nvSpPr>
          <p:cNvPr id="8" name="Textfeld 7"/>
          <p:cNvSpPr txBox="1">
            <a:spLocks/>
          </p:cNvSpPr>
          <p:nvPr/>
        </p:nvSpPr>
        <p:spPr bwMode="gray">
          <a:xfrm>
            <a:off x="5020626" y="2657929"/>
            <a:ext cx="2375596" cy="23755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>
            <a:prstTxWarp prst="textCircle">
              <a:avLst>
                <a:gd name="adj" fmla="val 13158586"/>
              </a:avLst>
            </a:prstTxWarp>
            <a:spAutoFit/>
          </a:bodyPr>
          <a:lstStyle/>
          <a:p>
            <a:pPr>
              <a:spcBef>
                <a:spcPts val="0"/>
              </a:spcBef>
            </a:pPr>
            <a:r>
              <a:rPr lang="en-US" sz="1000" b="1" spc="30" dirty="0">
                <a:solidFill>
                  <a:srgbClr val="FFFFFF"/>
                </a:solidFill>
                <a:latin typeface="Siemens Slab" pitchFamily="2" charset="0"/>
              </a:rPr>
              <a:t>010110110101010110110101010101010010110110101011001010101010110101111010001001001101</a:t>
            </a:r>
          </a:p>
        </p:txBody>
      </p:sp>
      <p:sp>
        <p:nvSpPr>
          <p:cNvPr id="9" name="Textfeld 8"/>
          <p:cNvSpPr txBox="1">
            <a:spLocks/>
          </p:cNvSpPr>
          <p:nvPr/>
        </p:nvSpPr>
        <p:spPr bwMode="gray">
          <a:xfrm>
            <a:off x="4512539" y="2149842"/>
            <a:ext cx="3391770" cy="33917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>
            <a:prstTxWarp prst="textCircle">
              <a:avLst>
                <a:gd name="adj" fmla="val 6005057"/>
              </a:avLst>
            </a:prstTxWarp>
            <a:spAutoFit/>
          </a:bodyPr>
          <a:lstStyle/>
          <a:p>
            <a:pPr>
              <a:spcBef>
                <a:spcPts val="0"/>
              </a:spcBef>
            </a:pPr>
            <a:r>
              <a:rPr lang="en-US" sz="1100" b="1" spc="30" dirty="0">
                <a:solidFill>
                  <a:srgbClr val="FFFFFF"/>
                </a:solidFill>
                <a:latin typeface="Siemens Slab" pitchFamily="2" charset="0"/>
              </a:rPr>
              <a:t>1000101101101010011011001001101010110110001101</a:t>
            </a:r>
          </a:p>
        </p:txBody>
      </p:sp>
      <p:sp>
        <p:nvSpPr>
          <p:cNvPr id="168" name="Ellipse 167"/>
          <p:cNvSpPr/>
          <p:nvPr/>
        </p:nvSpPr>
        <p:spPr bwMode="gray">
          <a:xfrm>
            <a:off x="5235589" y="2819609"/>
            <a:ext cx="1962122" cy="1962118"/>
          </a:xfrm>
          <a:prstGeom prst="ellipse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vert="horz" wrap="none" lIns="0" tIns="14400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endParaRPr lang="en-US" sz="2400" b="1" dirty="0">
              <a:solidFill>
                <a:srgbClr val="FFFFFF"/>
              </a:solidFill>
            </a:endParaRPr>
          </a:p>
          <a:p>
            <a:pPr marL="0" lvl="1" algn="ctr"/>
            <a:r>
              <a:rPr lang="en-US" sz="2200" b="1" dirty="0">
                <a:solidFill>
                  <a:srgbClr val="FFFFFF"/>
                </a:solidFill>
              </a:rPr>
              <a:t>Operator</a:t>
            </a:r>
          </a:p>
        </p:txBody>
      </p:sp>
      <p:sp>
        <p:nvSpPr>
          <p:cNvPr id="169" name="Ellipse 168"/>
          <p:cNvSpPr/>
          <p:nvPr/>
        </p:nvSpPr>
        <p:spPr bwMode="gray">
          <a:xfrm>
            <a:off x="5285903" y="2871858"/>
            <a:ext cx="1859558" cy="1859556"/>
          </a:xfrm>
          <a:prstGeom prst="ellipse">
            <a:avLst/>
          </a:prstGeom>
          <a:noFill/>
          <a:ln w="28575" cap="rnd">
            <a:solidFill>
              <a:schemeClr val="bg1"/>
            </a:solidFill>
            <a:prstDash val="sysDot"/>
          </a:ln>
          <a:effectLst/>
          <a:ex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/>
            <a:endParaRPr lang="en-US" sz="2400" b="1" dirty="0">
              <a:solidFill>
                <a:srgbClr val="FFFFFF"/>
              </a:solidFill>
            </a:endParaRPr>
          </a:p>
        </p:txBody>
      </p:sp>
      <p:sp>
        <p:nvSpPr>
          <p:cNvPr id="180" name="Freihandform 179"/>
          <p:cNvSpPr/>
          <p:nvPr/>
        </p:nvSpPr>
        <p:spPr bwMode="gray">
          <a:xfrm>
            <a:off x="960285" y="2819609"/>
            <a:ext cx="4501350" cy="427637"/>
          </a:xfrm>
          <a:custGeom>
            <a:avLst/>
            <a:gdLst>
              <a:gd name="connsiteX0" fmla="*/ 6254151 w 6254151"/>
              <a:gd name="connsiteY0" fmla="*/ 414068 h 414068"/>
              <a:gd name="connsiteX1" fmla="*/ 5891841 w 6254151"/>
              <a:gd name="connsiteY1" fmla="*/ 0 h 414068"/>
              <a:gd name="connsiteX2" fmla="*/ 0 w 6254151"/>
              <a:gd name="connsiteY2" fmla="*/ 0 h 414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254151" h="414068">
                <a:moveTo>
                  <a:pt x="6254151" y="414068"/>
                </a:moveTo>
                <a:lnTo>
                  <a:pt x="5891841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41AAC8"/>
            </a:solidFill>
            <a:prstDash val="soli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3" name="Rechteck 182"/>
          <p:cNvSpPr>
            <a:spLocks/>
          </p:cNvSpPr>
          <p:nvPr/>
        </p:nvSpPr>
        <p:spPr bwMode="gray">
          <a:xfrm>
            <a:off x="960285" y="2327165"/>
            <a:ext cx="3552254" cy="492443"/>
          </a:xfrm>
          <a:prstGeom prst="rect">
            <a:avLst/>
          </a:prstGeom>
          <a:noFill/>
          <a:extLst/>
        </p:spPr>
        <p:txBody>
          <a:bodyPr wrap="none" lIns="0" tIns="0" rIns="0" bIns="0" rtlCol="0">
            <a:spAutoFit/>
          </a:bodyPr>
          <a:lstStyle/>
          <a:p>
            <a:pPr marL="0" lvl="1">
              <a:spcBef>
                <a:spcPts val="1200"/>
              </a:spcBef>
            </a:pPr>
            <a:r>
              <a:rPr lang="en-US" sz="3200" b="1" dirty="0">
                <a:solidFill>
                  <a:srgbClr val="41AAC8"/>
                </a:solidFill>
                <a:latin typeface="Arial"/>
              </a:rPr>
              <a:t>Digital Experience</a:t>
            </a:r>
          </a:p>
        </p:txBody>
      </p:sp>
      <p:sp>
        <p:nvSpPr>
          <p:cNvPr id="221" name="Rechteck 220"/>
          <p:cNvSpPr>
            <a:spLocks/>
          </p:cNvSpPr>
          <p:nvPr/>
        </p:nvSpPr>
        <p:spPr bwMode="gray">
          <a:xfrm>
            <a:off x="7417999" y="2327166"/>
            <a:ext cx="4040576" cy="492443"/>
          </a:xfrm>
          <a:prstGeom prst="rect">
            <a:avLst/>
          </a:prstGeom>
          <a:noFill/>
          <a:extLst/>
        </p:spPr>
        <p:txBody>
          <a:bodyPr wrap="square" lIns="0" tIns="0" rIns="0" bIns="0" rtlCol="0">
            <a:spAutoFit/>
          </a:bodyPr>
          <a:lstStyle/>
          <a:p>
            <a:pPr marL="0" lvl="1" algn="r">
              <a:spcBef>
                <a:spcPts val="1200"/>
              </a:spcBef>
            </a:pPr>
            <a:r>
              <a:rPr lang="en-US" sz="3200" b="1" dirty="0">
                <a:solidFill>
                  <a:srgbClr val="AAB414"/>
                </a:solidFill>
                <a:latin typeface="Arial"/>
              </a:rPr>
              <a:t>Last Mile Solution</a:t>
            </a:r>
          </a:p>
        </p:txBody>
      </p:sp>
      <p:sp>
        <p:nvSpPr>
          <p:cNvPr id="247" name="Rechteck 246"/>
          <p:cNvSpPr>
            <a:spLocks/>
          </p:cNvSpPr>
          <p:nvPr/>
        </p:nvSpPr>
        <p:spPr bwMode="gray">
          <a:xfrm>
            <a:off x="960285" y="4298346"/>
            <a:ext cx="3271990" cy="492443"/>
          </a:xfrm>
          <a:prstGeom prst="rect">
            <a:avLst/>
          </a:prstGeom>
          <a:noFill/>
          <a:extLst/>
        </p:spPr>
        <p:txBody>
          <a:bodyPr wrap="square" lIns="0" tIns="0" rIns="0" bIns="0" rtlCol="0">
            <a:spAutoFit/>
          </a:bodyPr>
          <a:lstStyle/>
          <a:p>
            <a:pPr marL="0" lvl="1">
              <a:spcBef>
                <a:spcPts val="1200"/>
              </a:spcBef>
            </a:pPr>
            <a:r>
              <a:rPr lang="en-US" sz="3200" b="1" dirty="0">
                <a:solidFill>
                  <a:srgbClr val="EB780A"/>
                </a:solidFill>
                <a:latin typeface="Arial"/>
              </a:rPr>
              <a:t>Reliability</a:t>
            </a:r>
          </a:p>
        </p:txBody>
      </p:sp>
      <p:sp>
        <p:nvSpPr>
          <p:cNvPr id="93" name="Freeform 6"/>
          <p:cNvSpPr>
            <a:spLocks noChangeAspect="1" noEditPoints="1"/>
          </p:cNvSpPr>
          <p:nvPr/>
        </p:nvSpPr>
        <p:spPr bwMode="auto">
          <a:xfrm>
            <a:off x="5929527" y="3129381"/>
            <a:ext cx="572309" cy="748515"/>
          </a:xfrm>
          <a:custGeom>
            <a:avLst/>
            <a:gdLst>
              <a:gd name="T0" fmla="*/ 649 w 2456"/>
              <a:gd name="T1" fmla="*/ 661 h 3212"/>
              <a:gd name="T2" fmla="*/ 1228 w 2456"/>
              <a:gd name="T3" fmla="*/ 0 h 3212"/>
              <a:gd name="T4" fmla="*/ 1807 w 2456"/>
              <a:gd name="T5" fmla="*/ 661 h 3212"/>
              <a:gd name="T6" fmla="*/ 1228 w 2456"/>
              <a:gd name="T7" fmla="*/ 1323 h 3212"/>
              <a:gd name="T8" fmla="*/ 649 w 2456"/>
              <a:gd name="T9" fmla="*/ 661 h 3212"/>
              <a:gd name="T10" fmla="*/ 2456 w 2456"/>
              <a:gd name="T11" fmla="*/ 2104 h 3212"/>
              <a:gd name="T12" fmla="*/ 2060 w 2456"/>
              <a:gd name="T13" fmla="*/ 1628 h 3212"/>
              <a:gd name="T14" fmla="*/ 2060 w 2456"/>
              <a:gd name="T15" fmla="*/ 1627 h 3212"/>
              <a:gd name="T16" fmla="*/ 1638 w 2456"/>
              <a:gd name="T17" fmla="*/ 1597 h 3212"/>
              <a:gd name="T18" fmla="*/ 1638 w 2456"/>
              <a:gd name="T19" fmla="*/ 1598 h 3212"/>
              <a:gd name="T20" fmla="*/ 1637 w 2456"/>
              <a:gd name="T21" fmla="*/ 1597 h 3212"/>
              <a:gd name="T22" fmla="*/ 1228 w 2456"/>
              <a:gd name="T23" fmla="*/ 2007 h 3212"/>
              <a:gd name="T24" fmla="*/ 1228 w 2456"/>
              <a:gd name="T25" fmla="*/ 2007 h 3212"/>
              <a:gd name="T26" fmla="*/ 818 w 2456"/>
              <a:gd name="T27" fmla="*/ 1597 h 3212"/>
              <a:gd name="T28" fmla="*/ 818 w 2456"/>
              <a:gd name="T29" fmla="*/ 1598 h 3212"/>
              <a:gd name="T30" fmla="*/ 818 w 2456"/>
              <a:gd name="T31" fmla="*/ 1597 h 3212"/>
              <a:gd name="T32" fmla="*/ 396 w 2456"/>
              <a:gd name="T33" fmla="*/ 1627 h 3212"/>
              <a:gd name="T34" fmla="*/ 396 w 2456"/>
              <a:gd name="T35" fmla="*/ 1628 h 3212"/>
              <a:gd name="T36" fmla="*/ 0 w 2456"/>
              <a:gd name="T37" fmla="*/ 2104 h 3212"/>
              <a:gd name="T38" fmla="*/ 0 w 2456"/>
              <a:gd name="T39" fmla="*/ 2105 h 3212"/>
              <a:gd name="T40" fmla="*/ 0 w 2456"/>
              <a:gd name="T41" fmla="*/ 3212 h 3212"/>
              <a:gd name="T42" fmla="*/ 2456 w 2456"/>
              <a:gd name="T43" fmla="*/ 3212 h 3212"/>
              <a:gd name="T44" fmla="*/ 2456 w 2456"/>
              <a:gd name="T45" fmla="*/ 2105 h 3212"/>
              <a:gd name="T46" fmla="*/ 2456 w 2456"/>
              <a:gd name="T47" fmla="*/ 2104 h 3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456" h="3212">
                <a:moveTo>
                  <a:pt x="649" y="661"/>
                </a:moveTo>
                <a:cubicBezTo>
                  <a:pt x="649" y="265"/>
                  <a:pt x="883" y="0"/>
                  <a:pt x="1228" y="0"/>
                </a:cubicBezTo>
                <a:cubicBezTo>
                  <a:pt x="1572" y="0"/>
                  <a:pt x="1807" y="265"/>
                  <a:pt x="1807" y="661"/>
                </a:cubicBezTo>
                <a:cubicBezTo>
                  <a:pt x="1807" y="1058"/>
                  <a:pt x="1572" y="1323"/>
                  <a:pt x="1228" y="1323"/>
                </a:cubicBezTo>
                <a:cubicBezTo>
                  <a:pt x="883" y="1323"/>
                  <a:pt x="649" y="1058"/>
                  <a:pt x="649" y="661"/>
                </a:cubicBezTo>
                <a:close/>
                <a:moveTo>
                  <a:pt x="2456" y="2104"/>
                </a:moveTo>
                <a:cubicBezTo>
                  <a:pt x="2451" y="1830"/>
                  <a:pt x="2293" y="1644"/>
                  <a:pt x="2060" y="1628"/>
                </a:cubicBezTo>
                <a:lnTo>
                  <a:pt x="2060" y="1627"/>
                </a:lnTo>
                <a:lnTo>
                  <a:pt x="1638" y="1597"/>
                </a:lnTo>
                <a:lnTo>
                  <a:pt x="1638" y="1598"/>
                </a:lnTo>
                <a:cubicBezTo>
                  <a:pt x="1638" y="1598"/>
                  <a:pt x="1637" y="1597"/>
                  <a:pt x="1637" y="1597"/>
                </a:cubicBezTo>
                <a:lnTo>
                  <a:pt x="1228" y="2007"/>
                </a:lnTo>
                <a:lnTo>
                  <a:pt x="1228" y="2007"/>
                </a:lnTo>
                <a:lnTo>
                  <a:pt x="818" y="1597"/>
                </a:lnTo>
                <a:cubicBezTo>
                  <a:pt x="818" y="1597"/>
                  <a:pt x="818" y="1598"/>
                  <a:pt x="818" y="1598"/>
                </a:cubicBezTo>
                <a:lnTo>
                  <a:pt x="818" y="1597"/>
                </a:lnTo>
                <a:lnTo>
                  <a:pt x="396" y="1627"/>
                </a:lnTo>
                <a:lnTo>
                  <a:pt x="396" y="1628"/>
                </a:lnTo>
                <a:cubicBezTo>
                  <a:pt x="162" y="1644"/>
                  <a:pt x="5" y="1830"/>
                  <a:pt x="0" y="2104"/>
                </a:cubicBezTo>
                <a:cubicBezTo>
                  <a:pt x="0" y="2104"/>
                  <a:pt x="0" y="2105"/>
                  <a:pt x="0" y="2105"/>
                </a:cubicBezTo>
                <a:lnTo>
                  <a:pt x="0" y="3212"/>
                </a:lnTo>
                <a:lnTo>
                  <a:pt x="2456" y="3212"/>
                </a:lnTo>
                <a:lnTo>
                  <a:pt x="2456" y="2105"/>
                </a:lnTo>
                <a:cubicBezTo>
                  <a:pt x="2456" y="2105"/>
                  <a:pt x="2456" y="2104"/>
                  <a:pt x="2456" y="2104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ihandform 25"/>
          <p:cNvSpPr/>
          <p:nvPr/>
        </p:nvSpPr>
        <p:spPr bwMode="gray">
          <a:xfrm flipH="1">
            <a:off x="6993317" y="2819608"/>
            <a:ext cx="4465258" cy="427637"/>
          </a:xfrm>
          <a:custGeom>
            <a:avLst/>
            <a:gdLst>
              <a:gd name="connsiteX0" fmla="*/ 6254151 w 6254151"/>
              <a:gd name="connsiteY0" fmla="*/ 414068 h 414068"/>
              <a:gd name="connsiteX1" fmla="*/ 5891841 w 6254151"/>
              <a:gd name="connsiteY1" fmla="*/ 0 h 414068"/>
              <a:gd name="connsiteX2" fmla="*/ 0 w 6254151"/>
              <a:gd name="connsiteY2" fmla="*/ 0 h 414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254151" h="414068">
                <a:moveTo>
                  <a:pt x="6254151" y="414068"/>
                </a:moveTo>
                <a:lnTo>
                  <a:pt x="5891841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AAB414"/>
            </a:solidFill>
            <a:prstDash val="soli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" name="Freihandform 26"/>
          <p:cNvSpPr/>
          <p:nvPr/>
        </p:nvSpPr>
        <p:spPr bwMode="gray">
          <a:xfrm flipV="1">
            <a:off x="960285" y="4354089"/>
            <a:ext cx="4501350" cy="427637"/>
          </a:xfrm>
          <a:custGeom>
            <a:avLst/>
            <a:gdLst>
              <a:gd name="connsiteX0" fmla="*/ 6254151 w 6254151"/>
              <a:gd name="connsiteY0" fmla="*/ 414068 h 414068"/>
              <a:gd name="connsiteX1" fmla="*/ 5891841 w 6254151"/>
              <a:gd name="connsiteY1" fmla="*/ 0 h 414068"/>
              <a:gd name="connsiteX2" fmla="*/ 0 w 6254151"/>
              <a:gd name="connsiteY2" fmla="*/ 0 h 414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254151" h="414068">
                <a:moveTo>
                  <a:pt x="6254151" y="414068"/>
                </a:moveTo>
                <a:lnTo>
                  <a:pt x="5891841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EB780A"/>
            </a:solidFill>
            <a:prstDash val="soli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8" name="Freihandform 27"/>
          <p:cNvSpPr/>
          <p:nvPr/>
        </p:nvSpPr>
        <p:spPr bwMode="gray">
          <a:xfrm flipH="1" flipV="1">
            <a:off x="6983157" y="4363151"/>
            <a:ext cx="4542093" cy="427637"/>
          </a:xfrm>
          <a:custGeom>
            <a:avLst/>
            <a:gdLst>
              <a:gd name="connsiteX0" fmla="*/ 6254151 w 6254151"/>
              <a:gd name="connsiteY0" fmla="*/ 414068 h 414068"/>
              <a:gd name="connsiteX1" fmla="*/ 5891841 w 6254151"/>
              <a:gd name="connsiteY1" fmla="*/ 0 h 414068"/>
              <a:gd name="connsiteX2" fmla="*/ 0 w 6254151"/>
              <a:gd name="connsiteY2" fmla="*/ 0 h 414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254151" h="414068">
                <a:moveTo>
                  <a:pt x="6254151" y="414068"/>
                </a:moveTo>
                <a:lnTo>
                  <a:pt x="5891841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D7D7CD"/>
            </a:solidFill>
            <a:prstDash val="soli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9" name="Rechteck 28"/>
          <p:cNvSpPr>
            <a:spLocks/>
          </p:cNvSpPr>
          <p:nvPr/>
        </p:nvSpPr>
        <p:spPr bwMode="gray">
          <a:xfrm>
            <a:off x="7692078" y="4303812"/>
            <a:ext cx="3766497" cy="492443"/>
          </a:xfrm>
          <a:prstGeom prst="rect">
            <a:avLst/>
          </a:prstGeom>
          <a:noFill/>
          <a:extLst/>
        </p:spPr>
        <p:txBody>
          <a:bodyPr wrap="square" lIns="0" tIns="0" rIns="0" bIns="0" rtlCol="0">
            <a:spAutoFit/>
          </a:bodyPr>
          <a:lstStyle/>
          <a:p>
            <a:pPr marL="0" lvl="1" algn="r">
              <a:spcBef>
                <a:spcPts val="1200"/>
              </a:spcBef>
            </a:pPr>
            <a:r>
              <a:rPr lang="en-US" sz="3200" b="1" dirty="0">
                <a:solidFill>
                  <a:srgbClr val="D7D7CD"/>
                </a:solidFill>
                <a:latin typeface="Arial"/>
              </a:rPr>
              <a:t>Affordable Prices</a:t>
            </a:r>
          </a:p>
        </p:txBody>
      </p:sp>
      <p:sp>
        <p:nvSpPr>
          <p:cNvPr id="18" name="Titel 3"/>
          <p:cNvSpPr txBox="1">
            <a:spLocks/>
          </p:cNvSpPr>
          <p:nvPr/>
        </p:nvSpPr>
        <p:spPr bwMode="auto">
          <a:xfrm>
            <a:off x="5857875" y="5845477"/>
            <a:ext cx="5943600" cy="526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de-DE" kern="0" dirty="0"/>
              <a:t>…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remain</a:t>
            </a:r>
            <a:r>
              <a:rPr lang="de-DE" kern="0" dirty="0"/>
              <a:t> </a:t>
            </a:r>
            <a:r>
              <a:rPr lang="de-DE" kern="0" dirty="0" err="1"/>
              <a:t>part</a:t>
            </a:r>
            <a:r>
              <a:rPr lang="de-DE" kern="0" dirty="0"/>
              <a:t> </a:t>
            </a:r>
            <a:r>
              <a:rPr lang="de-DE" kern="0" dirty="0" err="1"/>
              <a:t>of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transportation</a:t>
            </a:r>
            <a:r>
              <a:rPr lang="de-DE" kern="0" dirty="0"/>
              <a:t> </a:t>
            </a:r>
            <a:r>
              <a:rPr lang="de-DE" kern="0" dirty="0" err="1"/>
              <a:t>chain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358972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7477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2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Picture 2" descr="C:\Users\z0020p6k\Desktop\db-regio-ideenzug-premium-class-2-thumb.jpg"/>
          <p:cNvPicPr>
            <a:picLocks noChangeAspect="1" noChangeArrowheads="1"/>
          </p:cNvPicPr>
          <p:nvPr/>
        </p:nvPicPr>
        <p:blipFill rotWithShape="1">
          <a:blip r:embed="rId7"/>
          <a:srcRect l="6482" r="13321"/>
          <a:stretch/>
        </p:blipFill>
        <p:spPr bwMode="auto">
          <a:xfrm>
            <a:off x="6124419" y="1707334"/>
            <a:ext cx="5407181" cy="3545385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oes this mean for railway vehicles…</a:t>
            </a:r>
          </a:p>
        </p:txBody>
      </p:sp>
      <p:pic>
        <p:nvPicPr>
          <p:cNvPr id="8" name="Picture 102" descr="C:\Users\z003sxmd\AppData\Local\Microsoft\Windows\Temporary Internet Files\Content.Outlook\NUREIMCD\Variante-2.png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27" r="367"/>
          <a:stretch/>
        </p:blipFill>
        <p:spPr bwMode="gray">
          <a:xfrm>
            <a:off x="619759" y="1707334"/>
            <a:ext cx="5504660" cy="3545385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0" name="Titel 3"/>
          <p:cNvSpPr txBox="1">
            <a:spLocks/>
          </p:cNvSpPr>
          <p:nvPr/>
        </p:nvSpPr>
        <p:spPr bwMode="auto">
          <a:xfrm>
            <a:off x="5834860" y="5613137"/>
            <a:ext cx="5943600" cy="526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de-DE" kern="0" dirty="0"/>
              <a:t>… digital </a:t>
            </a:r>
            <a:r>
              <a:rPr lang="de-DE" kern="0" dirty="0" err="1"/>
              <a:t>ride</a:t>
            </a:r>
            <a:r>
              <a:rPr lang="de-DE" kern="0" dirty="0"/>
              <a:t> </a:t>
            </a:r>
            <a:r>
              <a:rPr lang="de-DE" kern="0" dirty="0" err="1"/>
              <a:t>experience</a:t>
            </a:r>
            <a:r>
              <a:rPr lang="de-DE" kern="0" dirty="0"/>
              <a:t> </a:t>
            </a:r>
            <a:r>
              <a:rPr lang="de-DE" kern="0" dirty="0" err="1"/>
              <a:t>and</a:t>
            </a:r>
            <a:r>
              <a:rPr lang="de-DE" kern="0" dirty="0"/>
              <a:t> </a:t>
            </a:r>
            <a:r>
              <a:rPr lang="de-DE" kern="0" dirty="0" err="1"/>
              <a:t>enhanced</a:t>
            </a:r>
            <a:r>
              <a:rPr lang="de-DE" kern="0" dirty="0"/>
              <a:t> passenger </a:t>
            </a:r>
            <a:r>
              <a:rPr lang="de-DE" kern="0" dirty="0" err="1"/>
              <a:t>information</a:t>
            </a:r>
            <a:r>
              <a:rPr lang="de-DE" kern="0" dirty="0"/>
              <a:t> </a:t>
            </a:r>
            <a:r>
              <a:rPr lang="de-DE" kern="0" dirty="0" err="1"/>
              <a:t>systems</a:t>
            </a:r>
            <a:endParaRPr lang="en-US" kern="0" dirty="0"/>
          </a:p>
        </p:txBody>
      </p:sp>
      <p:sp>
        <p:nvSpPr>
          <p:cNvPr id="32" name="Titel 3"/>
          <p:cNvSpPr txBox="1">
            <a:spLocks/>
          </p:cNvSpPr>
          <p:nvPr/>
        </p:nvSpPr>
        <p:spPr bwMode="auto">
          <a:xfrm rot="21242225">
            <a:off x="6294902" y="2748518"/>
            <a:ext cx="961058" cy="526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de-DE" sz="1800" kern="0" dirty="0">
                <a:solidFill>
                  <a:srgbClr val="00646E"/>
                </a:solidFill>
              </a:rPr>
              <a:t>Smart                 Seat</a:t>
            </a:r>
            <a:endParaRPr lang="en-US" sz="1800" kern="0" dirty="0">
              <a:solidFill>
                <a:srgbClr val="00646E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6102038" y="5303609"/>
            <a:ext cx="81535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i="1" dirty="0">
                <a:solidFill>
                  <a:schemeClr val="bg1"/>
                </a:solidFill>
              </a:rPr>
              <a:t>© DB AG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606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oes this mean for operations …</a:t>
            </a:r>
          </a:p>
        </p:txBody>
      </p:sp>
      <p:sp>
        <p:nvSpPr>
          <p:cNvPr id="15" name="Titel 3"/>
          <p:cNvSpPr txBox="1">
            <a:spLocks/>
          </p:cNvSpPr>
          <p:nvPr/>
        </p:nvSpPr>
        <p:spPr bwMode="auto">
          <a:xfrm>
            <a:off x="4612640" y="5989057"/>
            <a:ext cx="7165820" cy="526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de-DE" kern="0" dirty="0"/>
              <a:t>… </a:t>
            </a:r>
            <a:r>
              <a:rPr lang="de-DE" kern="0" dirty="0" err="1"/>
              <a:t>they</a:t>
            </a:r>
            <a:r>
              <a:rPr lang="de-DE" kern="0" dirty="0"/>
              <a:t> </a:t>
            </a:r>
            <a:r>
              <a:rPr lang="de-DE" kern="0" dirty="0" err="1"/>
              <a:t>become</a:t>
            </a:r>
            <a:r>
              <a:rPr lang="de-DE" kern="0" dirty="0"/>
              <a:t> </a:t>
            </a:r>
            <a:r>
              <a:rPr lang="de-DE" kern="0" dirty="0" err="1"/>
              <a:t>automatic</a:t>
            </a:r>
            <a:r>
              <a:rPr lang="de-DE" kern="0" dirty="0"/>
              <a:t> </a:t>
            </a:r>
            <a:r>
              <a:rPr lang="de-DE" kern="0" dirty="0" err="1"/>
              <a:t>and</a:t>
            </a:r>
            <a:r>
              <a:rPr lang="de-DE" kern="0" dirty="0"/>
              <a:t> </a:t>
            </a:r>
            <a:r>
              <a:rPr lang="de-DE" kern="0" dirty="0" err="1"/>
              <a:t>demand</a:t>
            </a:r>
            <a:r>
              <a:rPr lang="de-DE" kern="0" dirty="0"/>
              <a:t> </a:t>
            </a:r>
            <a:r>
              <a:rPr lang="de-DE" kern="0" dirty="0" err="1"/>
              <a:t>responsive</a:t>
            </a:r>
            <a:endParaRPr lang="en-US" kern="0" dirty="0"/>
          </a:p>
        </p:txBody>
      </p:sp>
      <p:pic>
        <p:nvPicPr>
          <p:cNvPr id="11" name="Picture 6" descr="Bildergebnis fÃ¼r automatic train operation ETCS thameslink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68" b="11703"/>
          <a:stretch/>
        </p:blipFill>
        <p:spPr bwMode="auto">
          <a:xfrm>
            <a:off x="816087" y="1391918"/>
            <a:ext cx="10921733" cy="440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347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oes this mean for infrastructure …</a:t>
            </a:r>
          </a:p>
        </p:txBody>
      </p:sp>
      <p:pic>
        <p:nvPicPr>
          <p:cNvPr id="13314" name="Picture 2" descr="Bildergebnis fÃ¼r relay interlock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295" y="1899852"/>
            <a:ext cx="5120742" cy="341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/>
        </p:nvSpPr>
        <p:spPr bwMode="auto">
          <a:xfrm>
            <a:off x="582294" y="1530520"/>
            <a:ext cx="37052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eaLnBrk="0" fontAlgn="auto" hangingPunct="0">
              <a:spcAft>
                <a:spcPts val="0"/>
              </a:spcAft>
              <a:defRPr/>
            </a:pPr>
            <a:r>
              <a:rPr lang="en-US" b="1" kern="0" dirty="0">
                <a:solidFill>
                  <a:schemeClr val="bg1"/>
                </a:solidFill>
                <a:latin typeface="Arial" charset="0"/>
              </a:rPr>
              <a:t>Relay</a:t>
            </a:r>
          </a:p>
        </p:txBody>
      </p:sp>
      <p:sp>
        <p:nvSpPr>
          <p:cNvPr id="10" name="Textfeld 9"/>
          <p:cNvSpPr txBox="1"/>
          <p:nvPr/>
        </p:nvSpPr>
        <p:spPr bwMode="auto">
          <a:xfrm>
            <a:off x="6868160" y="1530520"/>
            <a:ext cx="37052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eaLnBrk="0" fontAlgn="auto" hangingPunct="0">
              <a:spcAft>
                <a:spcPts val="0"/>
              </a:spcAft>
              <a:defRPr/>
            </a:pPr>
            <a:r>
              <a:rPr lang="en-US" b="1" kern="0" dirty="0">
                <a:solidFill>
                  <a:schemeClr val="bg1"/>
                </a:solidFill>
                <a:latin typeface="Arial" charset="0"/>
              </a:rPr>
              <a:t>IP based</a:t>
            </a:r>
          </a:p>
        </p:txBody>
      </p:sp>
      <p:sp>
        <p:nvSpPr>
          <p:cNvPr id="2" name="Pfeil nach rechts 1"/>
          <p:cNvSpPr/>
          <p:nvPr/>
        </p:nvSpPr>
        <p:spPr bwMode="auto">
          <a:xfrm>
            <a:off x="5892800" y="3261360"/>
            <a:ext cx="762000" cy="46736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582293" y="5313680"/>
            <a:ext cx="175541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i="1" dirty="0">
                <a:solidFill>
                  <a:schemeClr val="bg1"/>
                </a:solidFill>
              </a:rPr>
              <a:t>© Land Transport Guru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" name="Titel 3"/>
          <p:cNvSpPr txBox="1">
            <a:spLocks/>
          </p:cNvSpPr>
          <p:nvPr/>
        </p:nvSpPr>
        <p:spPr bwMode="auto">
          <a:xfrm>
            <a:off x="5834860" y="5765537"/>
            <a:ext cx="5943600" cy="526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de-DE" kern="0" dirty="0"/>
              <a:t>… </a:t>
            </a:r>
            <a:r>
              <a:rPr lang="de-DE" kern="0" dirty="0" err="1"/>
              <a:t>less</a:t>
            </a:r>
            <a:r>
              <a:rPr lang="de-DE" kern="0" dirty="0"/>
              <a:t> </a:t>
            </a:r>
            <a:r>
              <a:rPr lang="de-DE" kern="0" dirty="0" err="1"/>
              <a:t>cabling</a:t>
            </a:r>
            <a:r>
              <a:rPr lang="de-DE" kern="0" dirty="0"/>
              <a:t> </a:t>
            </a:r>
            <a:r>
              <a:rPr lang="de-DE" kern="0" dirty="0" err="1"/>
              <a:t>and</a:t>
            </a:r>
            <a:r>
              <a:rPr lang="de-DE" kern="0" dirty="0"/>
              <a:t> </a:t>
            </a:r>
            <a:r>
              <a:rPr lang="de-DE" kern="0" dirty="0" err="1"/>
              <a:t>hardware</a:t>
            </a:r>
            <a:endParaRPr lang="en-US" kern="0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1344" y="1917126"/>
            <a:ext cx="4631056" cy="339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9011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3200" spc="-150" dirty="0" err="1">
                <a:solidFill>
                  <a:srgbClr val="41AAC8"/>
                </a:solidFill>
              </a:rPr>
              <a:t>MindSphere</a:t>
            </a:r>
            <a:r>
              <a:rPr lang="en-US" sz="4400" spc="-150" dirty="0">
                <a:solidFill>
                  <a:srgbClr val="41AAC8"/>
                </a:solidFill>
              </a:rPr>
              <a:t> </a:t>
            </a:r>
            <a:r>
              <a:rPr lang="en-US" spc="-100" dirty="0"/>
              <a:t>The open </a:t>
            </a:r>
            <a:r>
              <a:rPr lang="en-US" spc="-100" dirty="0" err="1"/>
              <a:t>IoT</a:t>
            </a:r>
            <a:r>
              <a:rPr lang="en-US" spc="-100" dirty="0"/>
              <a:t> operating system by Siemens will be the platform for future applications and services</a:t>
            </a:r>
          </a:p>
        </p:txBody>
      </p:sp>
      <p:grpSp>
        <p:nvGrpSpPr>
          <p:cNvPr id="41" name="Gruppieren 40"/>
          <p:cNvGrpSpPr/>
          <p:nvPr/>
        </p:nvGrpSpPr>
        <p:grpSpPr>
          <a:xfrm>
            <a:off x="1747520" y="1525616"/>
            <a:ext cx="9042400" cy="4885343"/>
            <a:chOff x="1899920" y="1586324"/>
            <a:chExt cx="9194800" cy="4842439"/>
          </a:xfrm>
        </p:grpSpPr>
        <p:grpSp>
          <p:nvGrpSpPr>
            <p:cNvPr id="343" name="Gruppieren 342"/>
            <p:cNvGrpSpPr/>
            <p:nvPr/>
          </p:nvGrpSpPr>
          <p:grpSpPr>
            <a:xfrm>
              <a:off x="3173408" y="1586324"/>
              <a:ext cx="7061720" cy="1263075"/>
              <a:chOff x="5629017" y="2053864"/>
              <a:chExt cx="5479046" cy="944937"/>
            </a:xfrm>
          </p:grpSpPr>
          <p:sp>
            <p:nvSpPr>
              <p:cNvPr id="347" name="Hexagone 39"/>
              <p:cNvSpPr/>
              <p:nvPr/>
            </p:nvSpPr>
            <p:spPr bwMode="auto">
              <a:xfrm>
                <a:off x="5629017" y="2387092"/>
                <a:ext cx="899629" cy="598884"/>
              </a:xfrm>
              <a:prstGeom prst="hexagon">
                <a:avLst/>
              </a:prstGeom>
              <a:solidFill>
                <a:srgbClr val="00646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36000" tIns="36000" rIns="36000" bIns="36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de-DE" sz="1200" b="1" dirty="0" err="1">
                    <a:solidFill>
                      <a:schemeClr val="bg1"/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Rail</a:t>
                </a:r>
                <a:endParaRPr lang="en-US" sz="1200" b="1" dirty="0">
                  <a:solidFill>
                    <a:schemeClr val="bg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8" name="Hexagone 39"/>
              <p:cNvSpPr/>
              <p:nvPr/>
            </p:nvSpPr>
            <p:spPr bwMode="auto">
              <a:xfrm>
                <a:off x="6390910" y="2083937"/>
                <a:ext cx="899629" cy="598884"/>
              </a:xfrm>
              <a:prstGeom prst="hexagon">
                <a:avLst/>
              </a:prstGeom>
              <a:solidFill>
                <a:srgbClr val="641946"/>
              </a:solidFill>
              <a:ln>
                <a:noFill/>
              </a:ln>
              <a:effectLst/>
              <a:extLst/>
            </p:spPr>
            <p:txBody>
              <a:bodyPr wrap="square" lIns="0" tIns="0" rIns="0" bIns="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de-DE" sz="1200" b="1" dirty="0">
                    <a:solidFill>
                      <a:schemeClr val="bg1"/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Road</a:t>
                </a:r>
                <a:endParaRPr lang="en-US" sz="1200" b="1" dirty="0">
                  <a:solidFill>
                    <a:schemeClr val="bg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9" name="Hexagone 39"/>
              <p:cNvSpPr/>
              <p:nvPr/>
            </p:nvSpPr>
            <p:spPr bwMode="auto">
              <a:xfrm>
                <a:off x="7152628" y="2399917"/>
                <a:ext cx="899629" cy="598884"/>
              </a:xfrm>
              <a:prstGeom prst="hexagon">
                <a:avLst/>
              </a:prstGeom>
              <a:solidFill>
                <a:srgbClr val="2387AA"/>
              </a:solidFill>
              <a:ln>
                <a:noFill/>
              </a:ln>
              <a:effectLst/>
              <a:extLst/>
            </p:spPr>
            <p:txBody>
              <a:bodyPr wrap="square" lIns="0" tIns="0" rIns="0" bIns="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200" b="1" dirty="0">
                    <a:solidFill>
                      <a:schemeClr val="bg1"/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Rolling</a:t>
                </a:r>
              </a:p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200" b="1" dirty="0">
                    <a:solidFill>
                      <a:schemeClr val="bg1"/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Stock</a:t>
                </a:r>
                <a:endParaRPr lang="en-US" sz="1200" b="1" dirty="0">
                  <a:solidFill>
                    <a:schemeClr val="bg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0" name="Hexagone 39"/>
              <p:cNvSpPr/>
              <p:nvPr/>
            </p:nvSpPr>
            <p:spPr bwMode="auto">
              <a:xfrm>
                <a:off x="7913937" y="2080129"/>
                <a:ext cx="899629" cy="598884"/>
              </a:xfrm>
              <a:prstGeom prst="hexagon">
                <a:avLst/>
              </a:prstGeom>
              <a:solidFill>
                <a:srgbClr val="465F19"/>
              </a:solidFill>
              <a:ln>
                <a:noFill/>
              </a:ln>
              <a:effectLst/>
              <a:extLst/>
            </p:spPr>
            <p:txBody>
              <a:bodyPr wrap="square" lIns="0" tIns="0" rIns="0" bIns="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200" b="1" dirty="0">
                    <a:solidFill>
                      <a:schemeClr val="bg1"/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Operation</a:t>
                </a:r>
                <a:endParaRPr lang="en-US" sz="1200" b="1" dirty="0">
                  <a:solidFill>
                    <a:schemeClr val="bg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1" name="Hexagone 39"/>
              <p:cNvSpPr/>
              <p:nvPr/>
            </p:nvSpPr>
            <p:spPr bwMode="auto">
              <a:xfrm>
                <a:off x="8683950" y="2376873"/>
                <a:ext cx="899629" cy="598884"/>
              </a:xfrm>
              <a:prstGeom prst="hexagon">
                <a:avLst/>
              </a:prstGeom>
              <a:solidFill>
                <a:srgbClr val="879628"/>
              </a:solidFill>
              <a:ln>
                <a:noFill/>
              </a:ln>
              <a:effectLst/>
              <a:extLst/>
            </p:spPr>
            <p:txBody>
              <a:bodyPr wrap="square" lIns="0" tIns="0" rIns="0" bIns="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de-DE" sz="1200" b="1" dirty="0">
                    <a:solidFill>
                      <a:schemeClr val="bg1"/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Main-</a:t>
                </a:r>
                <a:r>
                  <a:rPr lang="de-DE" sz="1200" b="1" dirty="0" err="1">
                    <a:solidFill>
                      <a:schemeClr val="bg1"/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tenance</a:t>
                </a:r>
                <a:endParaRPr lang="en-US" sz="1200" b="1" dirty="0">
                  <a:solidFill>
                    <a:schemeClr val="bg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2" name="Hexagone 39"/>
              <p:cNvSpPr/>
              <p:nvPr/>
            </p:nvSpPr>
            <p:spPr bwMode="auto">
              <a:xfrm>
                <a:off x="9446716" y="2053864"/>
                <a:ext cx="899629" cy="598884"/>
              </a:xfrm>
              <a:prstGeom prst="hexagon">
                <a:avLst/>
              </a:prstGeom>
              <a:solidFill>
                <a:srgbClr val="73645A"/>
              </a:solidFill>
              <a:ln>
                <a:noFill/>
              </a:ln>
              <a:effectLst/>
              <a:extLst/>
            </p:spPr>
            <p:txBody>
              <a:bodyPr wrap="square" lIns="36000" tIns="36000" rIns="36000" bIns="36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de-DE" sz="1200" b="1" dirty="0" err="1">
                    <a:solidFill>
                      <a:schemeClr val="bg1"/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Connec-tivity</a:t>
                </a:r>
                <a:endParaRPr lang="en-US" sz="1200" b="1" dirty="0">
                  <a:solidFill>
                    <a:schemeClr val="bg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3" name="Hexagone 39"/>
              <p:cNvSpPr/>
              <p:nvPr/>
            </p:nvSpPr>
            <p:spPr bwMode="auto">
              <a:xfrm>
                <a:off x="10208434" y="2352871"/>
                <a:ext cx="899629" cy="598884"/>
              </a:xfrm>
              <a:prstGeom prst="hexagon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  <a:extLst/>
            </p:spPr>
            <p:txBody>
              <a:bodyPr wrap="square" lIns="0" tIns="0" rIns="0" bIns="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de-DE" sz="1200" b="1" dirty="0">
                    <a:solidFill>
                      <a:schemeClr val="bg1"/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IT Security</a:t>
                </a:r>
                <a:endParaRPr lang="en-US" sz="1200" b="1" dirty="0">
                  <a:solidFill>
                    <a:schemeClr val="bg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</p:grpSp>
        <p:grpSp>
          <p:nvGrpSpPr>
            <p:cNvPr id="3" name="Gruppieren 2"/>
            <p:cNvGrpSpPr/>
            <p:nvPr/>
          </p:nvGrpSpPr>
          <p:grpSpPr>
            <a:xfrm>
              <a:off x="1899920" y="2950080"/>
              <a:ext cx="9194800" cy="3478683"/>
              <a:chOff x="2458720" y="2950080"/>
              <a:chExt cx="7950835" cy="3478683"/>
            </a:xfrm>
          </p:grpSpPr>
          <p:grpSp>
            <p:nvGrpSpPr>
              <p:cNvPr id="331" name="Gruppieren 330"/>
              <p:cNvGrpSpPr/>
              <p:nvPr/>
            </p:nvGrpSpPr>
            <p:grpSpPr>
              <a:xfrm>
                <a:off x="2458720" y="2950080"/>
                <a:ext cx="7950835" cy="3478683"/>
                <a:chOff x="4415706" y="2903104"/>
                <a:chExt cx="7264327" cy="3108600"/>
              </a:xfrm>
            </p:grpSpPr>
            <p:sp>
              <p:nvSpPr>
                <p:cNvPr id="354" name="Textfeld 353"/>
                <p:cNvSpPr txBox="1">
                  <a:spLocks/>
                </p:cNvSpPr>
                <p:nvPr/>
              </p:nvSpPr>
              <p:spPr bwMode="gray">
                <a:xfrm>
                  <a:off x="7502336" y="5120714"/>
                  <a:ext cx="115416" cy="39395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1</a:t>
                  </a:r>
                </a:p>
              </p:txBody>
            </p:sp>
            <p:grpSp>
              <p:nvGrpSpPr>
                <p:cNvPr id="355" name="Gruppieren 467"/>
                <p:cNvGrpSpPr/>
                <p:nvPr>
                  <p:custDataLst>
                    <p:tags r:id="rId1"/>
                  </p:custDataLst>
                </p:nvPr>
              </p:nvGrpSpPr>
              <p:grpSpPr bwMode="gray">
                <a:xfrm>
                  <a:off x="7355628" y="4820958"/>
                  <a:ext cx="436220" cy="220761"/>
                  <a:chOff x="4264964" y="4786123"/>
                  <a:chExt cx="430382" cy="229869"/>
                </a:xfrm>
              </p:grpSpPr>
              <p:sp>
                <p:nvSpPr>
                  <p:cNvPr id="664" name="Freeform 673"/>
                  <p:cNvSpPr>
                    <a:spLocks noEditPoints="1"/>
                  </p:cNvSpPr>
                  <p:nvPr/>
                </p:nvSpPr>
                <p:spPr bwMode="gray">
                  <a:xfrm>
                    <a:off x="4264964" y="4786123"/>
                    <a:ext cx="179276" cy="229869"/>
                  </a:xfrm>
                  <a:custGeom>
                    <a:avLst/>
                    <a:gdLst>
                      <a:gd name="T0" fmla="*/ 67 w 422"/>
                      <a:gd name="T1" fmla="*/ 221 h 557"/>
                      <a:gd name="T2" fmla="*/ 67 w 422"/>
                      <a:gd name="T3" fmla="*/ 143 h 557"/>
                      <a:gd name="T4" fmla="*/ 210 w 422"/>
                      <a:gd name="T5" fmla="*/ 0 h 557"/>
                      <a:gd name="T6" fmla="*/ 212 w 422"/>
                      <a:gd name="T7" fmla="*/ 0 h 557"/>
                      <a:gd name="T8" fmla="*/ 355 w 422"/>
                      <a:gd name="T9" fmla="*/ 143 h 557"/>
                      <a:gd name="T10" fmla="*/ 355 w 422"/>
                      <a:gd name="T11" fmla="*/ 221 h 557"/>
                      <a:gd name="T12" fmla="*/ 307 w 422"/>
                      <a:gd name="T13" fmla="*/ 221 h 557"/>
                      <a:gd name="T14" fmla="*/ 307 w 422"/>
                      <a:gd name="T15" fmla="*/ 149 h 557"/>
                      <a:gd name="T16" fmla="*/ 212 w 422"/>
                      <a:gd name="T17" fmla="*/ 48 h 557"/>
                      <a:gd name="T18" fmla="*/ 210 w 422"/>
                      <a:gd name="T19" fmla="*/ 48 h 557"/>
                      <a:gd name="T20" fmla="*/ 115 w 422"/>
                      <a:gd name="T21" fmla="*/ 149 h 557"/>
                      <a:gd name="T22" fmla="*/ 115 w 422"/>
                      <a:gd name="T23" fmla="*/ 221 h 557"/>
                      <a:gd name="T24" fmla="*/ 67 w 422"/>
                      <a:gd name="T25" fmla="*/ 221 h 557"/>
                      <a:gd name="T26" fmla="*/ 422 w 422"/>
                      <a:gd name="T27" fmla="*/ 557 h 557"/>
                      <a:gd name="T28" fmla="*/ 0 w 422"/>
                      <a:gd name="T29" fmla="*/ 557 h 557"/>
                      <a:gd name="T30" fmla="*/ 0 w 422"/>
                      <a:gd name="T31" fmla="*/ 231 h 557"/>
                      <a:gd name="T32" fmla="*/ 422 w 422"/>
                      <a:gd name="T33" fmla="*/ 231 h 557"/>
                      <a:gd name="T34" fmla="*/ 422 w 422"/>
                      <a:gd name="T35" fmla="*/ 557 h 557"/>
                      <a:gd name="T36" fmla="*/ 321 w 422"/>
                      <a:gd name="T37" fmla="*/ 394 h 557"/>
                      <a:gd name="T38" fmla="*/ 211 w 422"/>
                      <a:gd name="T39" fmla="*/ 283 h 557"/>
                      <a:gd name="T40" fmla="*/ 101 w 422"/>
                      <a:gd name="T41" fmla="*/ 394 h 557"/>
                      <a:gd name="T42" fmla="*/ 211 w 422"/>
                      <a:gd name="T43" fmla="*/ 504 h 557"/>
                      <a:gd name="T44" fmla="*/ 321 w 422"/>
                      <a:gd name="T45" fmla="*/ 394 h 557"/>
                      <a:gd name="T46" fmla="*/ 312 w 422"/>
                      <a:gd name="T47" fmla="*/ 394 h 557"/>
                      <a:gd name="T48" fmla="*/ 211 w 422"/>
                      <a:gd name="T49" fmla="*/ 495 h 557"/>
                      <a:gd name="T50" fmla="*/ 110 w 422"/>
                      <a:gd name="T51" fmla="*/ 394 h 557"/>
                      <a:gd name="T52" fmla="*/ 211 w 422"/>
                      <a:gd name="T53" fmla="*/ 293 h 557"/>
                      <a:gd name="T54" fmla="*/ 312 w 422"/>
                      <a:gd name="T55" fmla="*/ 394 h 557"/>
                      <a:gd name="T56" fmla="*/ 240 w 422"/>
                      <a:gd name="T57" fmla="*/ 375 h 557"/>
                      <a:gd name="T58" fmla="*/ 211 w 422"/>
                      <a:gd name="T59" fmla="*/ 346 h 557"/>
                      <a:gd name="T60" fmla="*/ 182 w 422"/>
                      <a:gd name="T61" fmla="*/ 375 h 557"/>
                      <a:gd name="T62" fmla="*/ 197 w 422"/>
                      <a:gd name="T63" fmla="*/ 400 h 557"/>
                      <a:gd name="T64" fmla="*/ 197 w 422"/>
                      <a:gd name="T65" fmla="*/ 442 h 557"/>
                      <a:gd name="T66" fmla="*/ 225 w 422"/>
                      <a:gd name="T67" fmla="*/ 442 h 557"/>
                      <a:gd name="T68" fmla="*/ 225 w 422"/>
                      <a:gd name="T69" fmla="*/ 400 h 557"/>
                      <a:gd name="T70" fmla="*/ 240 w 422"/>
                      <a:gd name="T71" fmla="*/ 375 h 5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422" h="557">
                        <a:moveTo>
                          <a:pt x="67" y="221"/>
                        </a:moveTo>
                        <a:cubicBezTo>
                          <a:pt x="67" y="143"/>
                          <a:pt x="67" y="143"/>
                          <a:pt x="67" y="143"/>
                        </a:cubicBezTo>
                        <a:cubicBezTo>
                          <a:pt x="67" y="64"/>
                          <a:pt x="131" y="0"/>
                          <a:pt x="210" y="0"/>
                        </a:cubicBezTo>
                        <a:cubicBezTo>
                          <a:pt x="212" y="0"/>
                          <a:pt x="212" y="0"/>
                          <a:pt x="212" y="0"/>
                        </a:cubicBezTo>
                        <a:cubicBezTo>
                          <a:pt x="291" y="0"/>
                          <a:pt x="355" y="64"/>
                          <a:pt x="355" y="143"/>
                        </a:cubicBezTo>
                        <a:cubicBezTo>
                          <a:pt x="355" y="221"/>
                          <a:pt x="355" y="221"/>
                          <a:pt x="355" y="221"/>
                        </a:cubicBezTo>
                        <a:cubicBezTo>
                          <a:pt x="307" y="221"/>
                          <a:pt x="307" y="221"/>
                          <a:pt x="307" y="221"/>
                        </a:cubicBezTo>
                        <a:cubicBezTo>
                          <a:pt x="307" y="149"/>
                          <a:pt x="307" y="149"/>
                          <a:pt x="307" y="149"/>
                        </a:cubicBezTo>
                        <a:cubicBezTo>
                          <a:pt x="307" y="93"/>
                          <a:pt x="264" y="48"/>
                          <a:pt x="212" y="48"/>
                        </a:cubicBezTo>
                        <a:cubicBezTo>
                          <a:pt x="210" y="48"/>
                          <a:pt x="210" y="48"/>
                          <a:pt x="210" y="48"/>
                        </a:cubicBezTo>
                        <a:cubicBezTo>
                          <a:pt x="158" y="48"/>
                          <a:pt x="115" y="93"/>
                          <a:pt x="115" y="149"/>
                        </a:cubicBezTo>
                        <a:cubicBezTo>
                          <a:pt x="115" y="221"/>
                          <a:pt x="115" y="221"/>
                          <a:pt x="115" y="221"/>
                        </a:cubicBezTo>
                        <a:lnTo>
                          <a:pt x="67" y="221"/>
                        </a:lnTo>
                        <a:close/>
                        <a:moveTo>
                          <a:pt x="422" y="557"/>
                        </a:moveTo>
                        <a:cubicBezTo>
                          <a:pt x="0" y="557"/>
                          <a:pt x="0" y="557"/>
                          <a:pt x="0" y="557"/>
                        </a:cubicBezTo>
                        <a:cubicBezTo>
                          <a:pt x="0" y="231"/>
                          <a:pt x="0" y="231"/>
                          <a:pt x="0" y="231"/>
                        </a:cubicBezTo>
                        <a:cubicBezTo>
                          <a:pt x="422" y="231"/>
                          <a:pt x="422" y="231"/>
                          <a:pt x="422" y="231"/>
                        </a:cubicBezTo>
                        <a:lnTo>
                          <a:pt x="422" y="557"/>
                        </a:lnTo>
                        <a:close/>
                        <a:moveTo>
                          <a:pt x="321" y="394"/>
                        </a:moveTo>
                        <a:cubicBezTo>
                          <a:pt x="321" y="333"/>
                          <a:pt x="272" y="283"/>
                          <a:pt x="211" y="283"/>
                        </a:cubicBezTo>
                        <a:cubicBezTo>
                          <a:pt x="150" y="283"/>
                          <a:pt x="101" y="333"/>
                          <a:pt x="101" y="394"/>
                        </a:cubicBezTo>
                        <a:cubicBezTo>
                          <a:pt x="101" y="455"/>
                          <a:pt x="150" y="504"/>
                          <a:pt x="211" y="504"/>
                        </a:cubicBezTo>
                        <a:cubicBezTo>
                          <a:pt x="272" y="504"/>
                          <a:pt x="321" y="455"/>
                          <a:pt x="321" y="394"/>
                        </a:cubicBezTo>
                        <a:moveTo>
                          <a:pt x="312" y="394"/>
                        </a:moveTo>
                        <a:cubicBezTo>
                          <a:pt x="312" y="450"/>
                          <a:pt x="267" y="495"/>
                          <a:pt x="211" y="495"/>
                        </a:cubicBezTo>
                        <a:cubicBezTo>
                          <a:pt x="155" y="495"/>
                          <a:pt x="110" y="450"/>
                          <a:pt x="110" y="394"/>
                        </a:cubicBezTo>
                        <a:cubicBezTo>
                          <a:pt x="110" y="338"/>
                          <a:pt x="155" y="293"/>
                          <a:pt x="211" y="293"/>
                        </a:cubicBezTo>
                        <a:cubicBezTo>
                          <a:pt x="267" y="293"/>
                          <a:pt x="312" y="338"/>
                          <a:pt x="312" y="394"/>
                        </a:cubicBezTo>
                        <a:moveTo>
                          <a:pt x="240" y="375"/>
                        </a:moveTo>
                        <a:cubicBezTo>
                          <a:pt x="240" y="359"/>
                          <a:pt x="227" y="346"/>
                          <a:pt x="211" y="346"/>
                        </a:cubicBezTo>
                        <a:cubicBezTo>
                          <a:pt x="195" y="346"/>
                          <a:pt x="182" y="359"/>
                          <a:pt x="182" y="375"/>
                        </a:cubicBezTo>
                        <a:cubicBezTo>
                          <a:pt x="182" y="385"/>
                          <a:pt x="188" y="395"/>
                          <a:pt x="197" y="400"/>
                        </a:cubicBezTo>
                        <a:cubicBezTo>
                          <a:pt x="197" y="442"/>
                          <a:pt x="197" y="442"/>
                          <a:pt x="197" y="442"/>
                        </a:cubicBezTo>
                        <a:cubicBezTo>
                          <a:pt x="225" y="442"/>
                          <a:pt x="225" y="442"/>
                          <a:pt x="225" y="442"/>
                        </a:cubicBezTo>
                        <a:cubicBezTo>
                          <a:pt x="225" y="400"/>
                          <a:pt x="225" y="400"/>
                          <a:pt x="225" y="400"/>
                        </a:cubicBezTo>
                        <a:cubicBezTo>
                          <a:pt x="234" y="395"/>
                          <a:pt x="240" y="385"/>
                          <a:pt x="240" y="375"/>
                        </a:cubicBezTo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100" dirty="0"/>
                  </a:p>
                </p:txBody>
              </p:sp>
              <p:sp>
                <p:nvSpPr>
                  <p:cNvPr id="665" name="Freeform 673"/>
                  <p:cNvSpPr>
                    <a:spLocks noEditPoints="1"/>
                  </p:cNvSpPr>
                  <p:nvPr/>
                </p:nvSpPr>
                <p:spPr bwMode="gray">
                  <a:xfrm>
                    <a:off x="4516070" y="4786123"/>
                    <a:ext cx="179276" cy="229869"/>
                  </a:xfrm>
                  <a:custGeom>
                    <a:avLst/>
                    <a:gdLst>
                      <a:gd name="T0" fmla="*/ 67 w 422"/>
                      <a:gd name="T1" fmla="*/ 221 h 557"/>
                      <a:gd name="T2" fmla="*/ 67 w 422"/>
                      <a:gd name="T3" fmla="*/ 143 h 557"/>
                      <a:gd name="T4" fmla="*/ 210 w 422"/>
                      <a:gd name="T5" fmla="*/ 0 h 557"/>
                      <a:gd name="T6" fmla="*/ 212 w 422"/>
                      <a:gd name="T7" fmla="*/ 0 h 557"/>
                      <a:gd name="T8" fmla="*/ 355 w 422"/>
                      <a:gd name="T9" fmla="*/ 143 h 557"/>
                      <a:gd name="T10" fmla="*/ 355 w 422"/>
                      <a:gd name="T11" fmla="*/ 221 h 557"/>
                      <a:gd name="T12" fmla="*/ 307 w 422"/>
                      <a:gd name="T13" fmla="*/ 221 h 557"/>
                      <a:gd name="T14" fmla="*/ 307 w 422"/>
                      <a:gd name="T15" fmla="*/ 149 h 557"/>
                      <a:gd name="T16" fmla="*/ 212 w 422"/>
                      <a:gd name="T17" fmla="*/ 48 h 557"/>
                      <a:gd name="T18" fmla="*/ 210 w 422"/>
                      <a:gd name="T19" fmla="*/ 48 h 557"/>
                      <a:gd name="T20" fmla="*/ 115 w 422"/>
                      <a:gd name="T21" fmla="*/ 149 h 557"/>
                      <a:gd name="T22" fmla="*/ 115 w 422"/>
                      <a:gd name="T23" fmla="*/ 221 h 557"/>
                      <a:gd name="T24" fmla="*/ 67 w 422"/>
                      <a:gd name="T25" fmla="*/ 221 h 557"/>
                      <a:gd name="T26" fmla="*/ 422 w 422"/>
                      <a:gd name="T27" fmla="*/ 557 h 557"/>
                      <a:gd name="T28" fmla="*/ 0 w 422"/>
                      <a:gd name="T29" fmla="*/ 557 h 557"/>
                      <a:gd name="T30" fmla="*/ 0 w 422"/>
                      <a:gd name="T31" fmla="*/ 231 h 557"/>
                      <a:gd name="T32" fmla="*/ 422 w 422"/>
                      <a:gd name="T33" fmla="*/ 231 h 557"/>
                      <a:gd name="T34" fmla="*/ 422 w 422"/>
                      <a:gd name="T35" fmla="*/ 557 h 557"/>
                      <a:gd name="T36" fmla="*/ 321 w 422"/>
                      <a:gd name="T37" fmla="*/ 394 h 557"/>
                      <a:gd name="T38" fmla="*/ 211 w 422"/>
                      <a:gd name="T39" fmla="*/ 283 h 557"/>
                      <a:gd name="T40" fmla="*/ 101 w 422"/>
                      <a:gd name="T41" fmla="*/ 394 h 557"/>
                      <a:gd name="T42" fmla="*/ 211 w 422"/>
                      <a:gd name="T43" fmla="*/ 504 h 557"/>
                      <a:gd name="T44" fmla="*/ 321 w 422"/>
                      <a:gd name="T45" fmla="*/ 394 h 557"/>
                      <a:gd name="T46" fmla="*/ 312 w 422"/>
                      <a:gd name="T47" fmla="*/ 394 h 557"/>
                      <a:gd name="T48" fmla="*/ 211 w 422"/>
                      <a:gd name="T49" fmla="*/ 495 h 557"/>
                      <a:gd name="T50" fmla="*/ 110 w 422"/>
                      <a:gd name="T51" fmla="*/ 394 h 557"/>
                      <a:gd name="T52" fmla="*/ 211 w 422"/>
                      <a:gd name="T53" fmla="*/ 293 h 557"/>
                      <a:gd name="T54" fmla="*/ 312 w 422"/>
                      <a:gd name="T55" fmla="*/ 394 h 557"/>
                      <a:gd name="T56" fmla="*/ 240 w 422"/>
                      <a:gd name="T57" fmla="*/ 375 h 557"/>
                      <a:gd name="T58" fmla="*/ 211 w 422"/>
                      <a:gd name="T59" fmla="*/ 346 h 557"/>
                      <a:gd name="T60" fmla="*/ 182 w 422"/>
                      <a:gd name="T61" fmla="*/ 375 h 557"/>
                      <a:gd name="T62" fmla="*/ 197 w 422"/>
                      <a:gd name="T63" fmla="*/ 400 h 557"/>
                      <a:gd name="T64" fmla="*/ 197 w 422"/>
                      <a:gd name="T65" fmla="*/ 442 h 557"/>
                      <a:gd name="T66" fmla="*/ 225 w 422"/>
                      <a:gd name="T67" fmla="*/ 442 h 557"/>
                      <a:gd name="T68" fmla="*/ 225 w 422"/>
                      <a:gd name="T69" fmla="*/ 400 h 557"/>
                      <a:gd name="T70" fmla="*/ 240 w 422"/>
                      <a:gd name="T71" fmla="*/ 375 h 5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422" h="557">
                        <a:moveTo>
                          <a:pt x="67" y="221"/>
                        </a:moveTo>
                        <a:cubicBezTo>
                          <a:pt x="67" y="143"/>
                          <a:pt x="67" y="143"/>
                          <a:pt x="67" y="143"/>
                        </a:cubicBezTo>
                        <a:cubicBezTo>
                          <a:pt x="67" y="64"/>
                          <a:pt x="131" y="0"/>
                          <a:pt x="210" y="0"/>
                        </a:cubicBezTo>
                        <a:cubicBezTo>
                          <a:pt x="212" y="0"/>
                          <a:pt x="212" y="0"/>
                          <a:pt x="212" y="0"/>
                        </a:cubicBezTo>
                        <a:cubicBezTo>
                          <a:pt x="291" y="0"/>
                          <a:pt x="355" y="64"/>
                          <a:pt x="355" y="143"/>
                        </a:cubicBezTo>
                        <a:cubicBezTo>
                          <a:pt x="355" y="221"/>
                          <a:pt x="355" y="221"/>
                          <a:pt x="355" y="221"/>
                        </a:cubicBezTo>
                        <a:cubicBezTo>
                          <a:pt x="307" y="221"/>
                          <a:pt x="307" y="221"/>
                          <a:pt x="307" y="221"/>
                        </a:cubicBezTo>
                        <a:cubicBezTo>
                          <a:pt x="307" y="149"/>
                          <a:pt x="307" y="149"/>
                          <a:pt x="307" y="149"/>
                        </a:cubicBezTo>
                        <a:cubicBezTo>
                          <a:pt x="307" y="93"/>
                          <a:pt x="264" y="48"/>
                          <a:pt x="212" y="48"/>
                        </a:cubicBezTo>
                        <a:cubicBezTo>
                          <a:pt x="210" y="48"/>
                          <a:pt x="210" y="48"/>
                          <a:pt x="210" y="48"/>
                        </a:cubicBezTo>
                        <a:cubicBezTo>
                          <a:pt x="158" y="48"/>
                          <a:pt x="115" y="93"/>
                          <a:pt x="115" y="149"/>
                        </a:cubicBezTo>
                        <a:cubicBezTo>
                          <a:pt x="115" y="221"/>
                          <a:pt x="115" y="221"/>
                          <a:pt x="115" y="221"/>
                        </a:cubicBezTo>
                        <a:lnTo>
                          <a:pt x="67" y="221"/>
                        </a:lnTo>
                        <a:close/>
                        <a:moveTo>
                          <a:pt x="422" y="557"/>
                        </a:moveTo>
                        <a:cubicBezTo>
                          <a:pt x="0" y="557"/>
                          <a:pt x="0" y="557"/>
                          <a:pt x="0" y="557"/>
                        </a:cubicBezTo>
                        <a:cubicBezTo>
                          <a:pt x="0" y="231"/>
                          <a:pt x="0" y="231"/>
                          <a:pt x="0" y="231"/>
                        </a:cubicBezTo>
                        <a:cubicBezTo>
                          <a:pt x="422" y="231"/>
                          <a:pt x="422" y="231"/>
                          <a:pt x="422" y="231"/>
                        </a:cubicBezTo>
                        <a:lnTo>
                          <a:pt x="422" y="557"/>
                        </a:lnTo>
                        <a:close/>
                        <a:moveTo>
                          <a:pt x="321" y="394"/>
                        </a:moveTo>
                        <a:cubicBezTo>
                          <a:pt x="321" y="333"/>
                          <a:pt x="272" y="283"/>
                          <a:pt x="211" y="283"/>
                        </a:cubicBezTo>
                        <a:cubicBezTo>
                          <a:pt x="150" y="283"/>
                          <a:pt x="101" y="333"/>
                          <a:pt x="101" y="394"/>
                        </a:cubicBezTo>
                        <a:cubicBezTo>
                          <a:pt x="101" y="455"/>
                          <a:pt x="150" y="504"/>
                          <a:pt x="211" y="504"/>
                        </a:cubicBezTo>
                        <a:cubicBezTo>
                          <a:pt x="272" y="504"/>
                          <a:pt x="321" y="455"/>
                          <a:pt x="321" y="394"/>
                        </a:cubicBezTo>
                        <a:moveTo>
                          <a:pt x="312" y="394"/>
                        </a:moveTo>
                        <a:cubicBezTo>
                          <a:pt x="312" y="450"/>
                          <a:pt x="267" y="495"/>
                          <a:pt x="211" y="495"/>
                        </a:cubicBezTo>
                        <a:cubicBezTo>
                          <a:pt x="155" y="495"/>
                          <a:pt x="110" y="450"/>
                          <a:pt x="110" y="394"/>
                        </a:cubicBezTo>
                        <a:cubicBezTo>
                          <a:pt x="110" y="338"/>
                          <a:pt x="155" y="293"/>
                          <a:pt x="211" y="293"/>
                        </a:cubicBezTo>
                        <a:cubicBezTo>
                          <a:pt x="267" y="293"/>
                          <a:pt x="312" y="338"/>
                          <a:pt x="312" y="394"/>
                        </a:cubicBezTo>
                        <a:moveTo>
                          <a:pt x="240" y="375"/>
                        </a:moveTo>
                        <a:cubicBezTo>
                          <a:pt x="240" y="359"/>
                          <a:pt x="227" y="346"/>
                          <a:pt x="211" y="346"/>
                        </a:cubicBezTo>
                        <a:cubicBezTo>
                          <a:pt x="195" y="346"/>
                          <a:pt x="182" y="359"/>
                          <a:pt x="182" y="375"/>
                        </a:cubicBezTo>
                        <a:cubicBezTo>
                          <a:pt x="182" y="385"/>
                          <a:pt x="188" y="395"/>
                          <a:pt x="197" y="400"/>
                        </a:cubicBezTo>
                        <a:cubicBezTo>
                          <a:pt x="197" y="442"/>
                          <a:pt x="197" y="442"/>
                          <a:pt x="197" y="442"/>
                        </a:cubicBezTo>
                        <a:cubicBezTo>
                          <a:pt x="225" y="442"/>
                          <a:pt x="225" y="442"/>
                          <a:pt x="225" y="442"/>
                        </a:cubicBezTo>
                        <a:cubicBezTo>
                          <a:pt x="225" y="400"/>
                          <a:pt x="225" y="400"/>
                          <a:pt x="225" y="400"/>
                        </a:cubicBezTo>
                        <a:cubicBezTo>
                          <a:pt x="234" y="395"/>
                          <a:pt x="240" y="385"/>
                          <a:pt x="240" y="375"/>
                        </a:cubicBezTo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100" dirty="0"/>
                  </a:p>
                </p:txBody>
              </p:sp>
            </p:grpSp>
            <p:sp>
              <p:nvSpPr>
                <p:cNvPr id="356" name="Textfeld 355"/>
                <p:cNvSpPr txBox="1">
                  <a:spLocks/>
                </p:cNvSpPr>
                <p:nvPr/>
              </p:nvSpPr>
              <p:spPr bwMode="gray">
                <a:xfrm>
                  <a:off x="9353591" y="5120714"/>
                  <a:ext cx="115416" cy="39395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</p:txBody>
            </p:sp>
            <p:grpSp>
              <p:nvGrpSpPr>
                <p:cNvPr id="357" name="Gruppieren 465"/>
                <p:cNvGrpSpPr/>
                <p:nvPr>
                  <p:custDataLst>
                    <p:tags r:id="rId2"/>
                  </p:custDataLst>
                </p:nvPr>
              </p:nvGrpSpPr>
              <p:grpSpPr bwMode="gray">
                <a:xfrm>
                  <a:off x="9198294" y="4820958"/>
                  <a:ext cx="436222" cy="220761"/>
                  <a:chOff x="6149094" y="4786123"/>
                  <a:chExt cx="430383" cy="229869"/>
                </a:xfrm>
              </p:grpSpPr>
              <p:sp>
                <p:nvSpPr>
                  <p:cNvPr id="662" name="Freeform 673"/>
                  <p:cNvSpPr>
                    <a:spLocks noEditPoints="1"/>
                  </p:cNvSpPr>
                  <p:nvPr/>
                </p:nvSpPr>
                <p:spPr bwMode="gray">
                  <a:xfrm>
                    <a:off x="6149094" y="4786123"/>
                    <a:ext cx="179276" cy="229869"/>
                  </a:xfrm>
                  <a:custGeom>
                    <a:avLst/>
                    <a:gdLst>
                      <a:gd name="T0" fmla="*/ 67 w 422"/>
                      <a:gd name="T1" fmla="*/ 221 h 557"/>
                      <a:gd name="T2" fmla="*/ 67 w 422"/>
                      <a:gd name="T3" fmla="*/ 143 h 557"/>
                      <a:gd name="T4" fmla="*/ 210 w 422"/>
                      <a:gd name="T5" fmla="*/ 0 h 557"/>
                      <a:gd name="T6" fmla="*/ 212 w 422"/>
                      <a:gd name="T7" fmla="*/ 0 h 557"/>
                      <a:gd name="T8" fmla="*/ 355 w 422"/>
                      <a:gd name="T9" fmla="*/ 143 h 557"/>
                      <a:gd name="T10" fmla="*/ 355 w 422"/>
                      <a:gd name="T11" fmla="*/ 221 h 557"/>
                      <a:gd name="T12" fmla="*/ 307 w 422"/>
                      <a:gd name="T13" fmla="*/ 221 h 557"/>
                      <a:gd name="T14" fmla="*/ 307 w 422"/>
                      <a:gd name="T15" fmla="*/ 149 h 557"/>
                      <a:gd name="T16" fmla="*/ 212 w 422"/>
                      <a:gd name="T17" fmla="*/ 48 h 557"/>
                      <a:gd name="T18" fmla="*/ 210 w 422"/>
                      <a:gd name="T19" fmla="*/ 48 h 557"/>
                      <a:gd name="T20" fmla="*/ 115 w 422"/>
                      <a:gd name="T21" fmla="*/ 149 h 557"/>
                      <a:gd name="T22" fmla="*/ 115 w 422"/>
                      <a:gd name="T23" fmla="*/ 221 h 557"/>
                      <a:gd name="T24" fmla="*/ 67 w 422"/>
                      <a:gd name="T25" fmla="*/ 221 h 557"/>
                      <a:gd name="T26" fmla="*/ 422 w 422"/>
                      <a:gd name="T27" fmla="*/ 557 h 557"/>
                      <a:gd name="T28" fmla="*/ 0 w 422"/>
                      <a:gd name="T29" fmla="*/ 557 h 557"/>
                      <a:gd name="T30" fmla="*/ 0 w 422"/>
                      <a:gd name="T31" fmla="*/ 231 h 557"/>
                      <a:gd name="T32" fmla="*/ 422 w 422"/>
                      <a:gd name="T33" fmla="*/ 231 h 557"/>
                      <a:gd name="T34" fmla="*/ 422 w 422"/>
                      <a:gd name="T35" fmla="*/ 557 h 557"/>
                      <a:gd name="T36" fmla="*/ 321 w 422"/>
                      <a:gd name="T37" fmla="*/ 394 h 557"/>
                      <a:gd name="T38" fmla="*/ 211 w 422"/>
                      <a:gd name="T39" fmla="*/ 283 h 557"/>
                      <a:gd name="T40" fmla="*/ 101 w 422"/>
                      <a:gd name="T41" fmla="*/ 394 h 557"/>
                      <a:gd name="T42" fmla="*/ 211 w 422"/>
                      <a:gd name="T43" fmla="*/ 504 h 557"/>
                      <a:gd name="T44" fmla="*/ 321 w 422"/>
                      <a:gd name="T45" fmla="*/ 394 h 557"/>
                      <a:gd name="T46" fmla="*/ 312 w 422"/>
                      <a:gd name="T47" fmla="*/ 394 h 557"/>
                      <a:gd name="T48" fmla="*/ 211 w 422"/>
                      <a:gd name="T49" fmla="*/ 495 h 557"/>
                      <a:gd name="T50" fmla="*/ 110 w 422"/>
                      <a:gd name="T51" fmla="*/ 394 h 557"/>
                      <a:gd name="T52" fmla="*/ 211 w 422"/>
                      <a:gd name="T53" fmla="*/ 293 h 557"/>
                      <a:gd name="T54" fmla="*/ 312 w 422"/>
                      <a:gd name="T55" fmla="*/ 394 h 557"/>
                      <a:gd name="T56" fmla="*/ 240 w 422"/>
                      <a:gd name="T57" fmla="*/ 375 h 557"/>
                      <a:gd name="T58" fmla="*/ 211 w 422"/>
                      <a:gd name="T59" fmla="*/ 346 h 557"/>
                      <a:gd name="T60" fmla="*/ 182 w 422"/>
                      <a:gd name="T61" fmla="*/ 375 h 557"/>
                      <a:gd name="T62" fmla="*/ 197 w 422"/>
                      <a:gd name="T63" fmla="*/ 400 h 557"/>
                      <a:gd name="T64" fmla="*/ 197 w 422"/>
                      <a:gd name="T65" fmla="*/ 442 h 557"/>
                      <a:gd name="T66" fmla="*/ 225 w 422"/>
                      <a:gd name="T67" fmla="*/ 442 h 557"/>
                      <a:gd name="T68" fmla="*/ 225 w 422"/>
                      <a:gd name="T69" fmla="*/ 400 h 557"/>
                      <a:gd name="T70" fmla="*/ 240 w 422"/>
                      <a:gd name="T71" fmla="*/ 375 h 5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422" h="557">
                        <a:moveTo>
                          <a:pt x="67" y="221"/>
                        </a:moveTo>
                        <a:cubicBezTo>
                          <a:pt x="67" y="143"/>
                          <a:pt x="67" y="143"/>
                          <a:pt x="67" y="143"/>
                        </a:cubicBezTo>
                        <a:cubicBezTo>
                          <a:pt x="67" y="64"/>
                          <a:pt x="131" y="0"/>
                          <a:pt x="210" y="0"/>
                        </a:cubicBezTo>
                        <a:cubicBezTo>
                          <a:pt x="212" y="0"/>
                          <a:pt x="212" y="0"/>
                          <a:pt x="212" y="0"/>
                        </a:cubicBezTo>
                        <a:cubicBezTo>
                          <a:pt x="291" y="0"/>
                          <a:pt x="355" y="64"/>
                          <a:pt x="355" y="143"/>
                        </a:cubicBezTo>
                        <a:cubicBezTo>
                          <a:pt x="355" y="221"/>
                          <a:pt x="355" y="221"/>
                          <a:pt x="355" y="221"/>
                        </a:cubicBezTo>
                        <a:cubicBezTo>
                          <a:pt x="307" y="221"/>
                          <a:pt x="307" y="221"/>
                          <a:pt x="307" y="221"/>
                        </a:cubicBezTo>
                        <a:cubicBezTo>
                          <a:pt x="307" y="149"/>
                          <a:pt x="307" y="149"/>
                          <a:pt x="307" y="149"/>
                        </a:cubicBezTo>
                        <a:cubicBezTo>
                          <a:pt x="307" y="93"/>
                          <a:pt x="264" y="48"/>
                          <a:pt x="212" y="48"/>
                        </a:cubicBezTo>
                        <a:cubicBezTo>
                          <a:pt x="210" y="48"/>
                          <a:pt x="210" y="48"/>
                          <a:pt x="210" y="48"/>
                        </a:cubicBezTo>
                        <a:cubicBezTo>
                          <a:pt x="158" y="48"/>
                          <a:pt x="115" y="93"/>
                          <a:pt x="115" y="149"/>
                        </a:cubicBezTo>
                        <a:cubicBezTo>
                          <a:pt x="115" y="221"/>
                          <a:pt x="115" y="221"/>
                          <a:pt x="115" y="221"/>
                        </a:cubicBezTo>
                        <a:lnTo>
                          <a:pt x="67" y="221"/>
                        </a:lnTo>
                        <a:close/>
                        <a:moveTo>
                          <a:pt x="422" y="557"/>
                        </a:moveTo>
                        <a:cubicBezTo>
                          <a:pt x="0" y="557"/>
                          <a:pt x="0" y="557"/>
                          <a:pt x="0" y="557"/>
                        </a:cubicBezTo>
                        <a:cubicBezTo>
                          <a:pt x="0" y="231"/>
                          <a:pt x="0" y="231"/>
                          <a:pt x="0" y="231"/>
                        </a:cubicBezTo>
                        <a:cubicBezTo>
                          <a:pt x="422" y="231"/>
                          <a:pt x="422" y="231"/>
                          <a:pt x="422" y="231"/>
                        </a:cubicBezTo>
                        <a:lnTo>
                          <a:pt x="422" y="557"/>
                        </a:lnTo>
                        <a:close/>
                        <a:moveTo>
                          <a:pt x="321" y="394"/>
                        </a:moveTo>
                        <a:cubicBezTo>
                          <a:pt x="321" y="333"/>
                          <a:pt x="272" y="283"/>
                          <a:pt x="211" y="283"/>
                        </a:cubicBezTo>
                        <a:cubicBezTo>
                          <a:pt x="150" y="283"/>
                          <a:pt x="101" y="333"/>
                          <a:pt x="101" y="394"/>
                        </a:cubicBezTo>
                        <a:cubicBezTo>
                          <a:pt x="101" y="455"/>
                          <a:pt x="150" y="504"/>
                          <a:pt x="211" y="504"/>
                        </a:cubicBezTo>
                        <a:cubicBezTo>
                          <a:pt x="272" y="504"/>
                          <a:pt x="321" y="455"/>
                          <a:pt x="321" y="394"/>
                        </a:cubicBezTo>
                        <a:moveTo>
                          <a:pt x="312" y="394"/>
                        </a:moveTo>
                        <a:cubicBezTo>
                          <a:pt x="312" y="450"/>
                          <a:pt x="267" y="495"/>
                          <a:pt x="211" y="495"/>
                        </a:cubicBezTo>
                        <a:cubicBezTo>
                          <a:pt x="155" y="495"/>
                          <a:pt x="110" y="450"/>
                          <a:pt x="110" y="394"/>
                        </a:cubicBezTo>
                        <a:cubicBezTo>
                          <a:pt x="110" y="338"/>
                          <a:pt x="155" y="293"/>
                          <a:pt x="211" y="293"/>
                        </a:cubicBezTo>
                        <a:cubicBezTo>
                          <a:pt x="267" y="293"/>
                          <a:pt x="312" y="338"/>
                          <a:pt x="312" y="394"/>
                        </a:cubicBezTo>
                        <a:moveTo>
                          <a:pt x="240" y="375"/>
                        </a:moveTo>
                        <a:cubicBezTo>
                          <a:pt x="240" y="359"/>
                          <a:pt x="227" y="346"/>
                          <a:pt x="211" y="346"/>
                        </a:cubicBezTo>
                        <a:cubicBezTo>
                          <a:pt x="195" y="346"/>
                          <a:pt x="182" y="359"/>
                          <a:pt x="182" y="375"/>
                        </a:cubicBezTo>
                        <a:cubicBezTo>
                          <a:pt x="182" y="385"/>
                          <a:pt x="188" y="395"/>
                          <a:pt x="197" y="400"/>
                        </a:cubicBezTo>
                        <a:cubicBezTo>
                          <a:pt x="197" y="442"/>
                          <a:pt x="197" y="442"/>
                          <a:pt x="197" y="442"/>
                        </a:cubicBezTo>
                        <a:cubicBezTo>
                          <a:pt x="225" y="442"/>
                          <a:pt x="225" y="442"/>
                          <a:pt x="225" y="442"/>
                        </a:cubicBezTo>
                        <a:cubicBezTo>
                          <a:pt x="225" y="400"/>
                          <a:pt x="225" y="400"/>
                          <a:pt x="225" y="400"/>
                        </a:cubicBezTo>
                        <a:cubicBezTo>
                          <a:pt x="234" y="395"/>
                          <a:pt x="240" y="385"/>
                          <a:pt x="240" y="375"/>
                        </a:cubicBezTo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100" dirty="0"/>
                  </a:p>
                </p:txBody>
              </p:sp>
              <p:sp>
                <p:nvSpPr>
                  <p:cNvPr id="663" name="Freeform 673"/>
                  <p:cNvSpPr>
                    <a:spLocks noEditPoints="1"/>
                  </p:cNvSpPr>
                  <p:nvPr/>
                </p:nvSpPr>
                <p:spPr bwMode="gray">
                  <a:xfrm>
                    <a:off x="6400201" y="4786123"/>
                    <a:ext cx="179276" cy="229869"/>
                  </a:xfrm>
                  <a:custGeom>
                    <a:avLst/>
                    <a:gdLst>
                      <a:gd name="T0" fmla="*/ 67 w 422"/>
                      <a:gd name="T1" fmla="*/ 221 h 557"/>
                      <a:gd name="T2" fmla="*/ 67 w 422"/>
                      <a:gd name="T3" fmla="*/ 143 h 557"/>
                      <a:gd name="T4" fmla="*/ 210 w 422"/>
                      <a:gd name="T5" fmla="*/ 0 h 557"/>
                      <a:gd name="T6" fmla="*/ 212 w 422"/>
                      <a:gd name="T7" fmla="*/ 0 h 557"/>
                      <a:gd name="T8" fmla="*/ 355 w 422"/>
                      <a:gd name="T9" fmla="*/ 143 h 557"/>
                      <a:gd name="T10" fmla="*/ 355 w 422"/>
                      <a:gd name="T11" fmla="*/ 221 h 557"/>
                      <a:gd name="T12" fmla="*/ 307 w 422"/>
                      <a:gd name="T13" fmla="*/ 221 h 557"/>
                      <a:gd name="T14" fmla="*/ 307 w 422"/>
                      <a:gd name="T15" fmla="*/ 149 h 557"/>
                      <a:gd name="T16" fmla="*/ 212 w 422"/>
                      <a:gd name="T17" fmla="*/ 48 h 557"/>
                      <a:gd name="T18" fmla="*/ 210 w 422"/>
                      <a:gd name="T19" fmla="*/ 48 h 557"/>
                      <a:gd name="T20" fmla="*/ 115 w 422"/>
                      <a:gd name="T21" fmla="*/ 149 h 557"/>
                      <a:gd name="T22" fmla="*/ 115 w 422"/>
                      <a:gd name="T23" fmla="*/ 221 h 557"/>
                      <a:gd name="T24" fmla="*/ 67 w 422"/>
                      <a:gd name="T25" fmla="*/ 221 h 557"/>
                      <a:gd name="T26" fmla="*/ 422 w 422"/>
                      <a:gd name="T27" fmla="*/ 557 h 557"/>
                      <a:gd name="T28" fmla="*/ 0 w 422"/>
                      <a:gd name="T29" fmla="*/ 557 h 557"/>
                      <a:gd name="T30" fmla="*/ 0 w 422"/>
                      <a:gd name="T31" fmla="*/ 231 h 557"/>
                      <a:gd name="T32" fmla="*/ 422 w 422"/>
                      <a:gd name="T33" fmla="*/ 231 h 557"/>
                      <a:gd name="T34" fmla="*/ 422 w 422"/>
                      <a:gd name="T35" fmla="*/ 557 h 557"/>
                      <a:gd name="T36" fmla="*/ 321 w 422"/>
                      <a:gd name="T37" fmla="*/ 394 h 557"/>
                      <a:gd name="T38" fmla="*/ 211 w 422"/>
                      <a:gd name="T39" fmla="*/ 283 h 557"/>
                      <a:gd name="T40" fmla="*/ 101 w 422"/>
                      <a:gd name="T41" fmla="*/ 394 h 557"/>
                      <a:gd name="T42" fmla="*/ 211 w 422"/>
                      <a:gd name="T43" fmla="*/ 504 h 557"/>
                      <a:gd name="T44" fmla="*/ 321 w 422"/>
                      <a:gd name="T45" fmla="*/ 394 h 557"/>
                      <a:gd name="T46" fmla="*/ 312 w 422"/>
                      <a:gd name="T47" fmla="*/ 394 h 557"/>
                      <a:gd name="T48" fmla="*/ 211 w 422"/>
                      <a:gd name="T49" fmla="*/ 495 h 557"/>
                      <a:gd name="T50" fmla="*/ 110 w 422"/>
                      <a:gd name="T51" fmla="*/ 394 h 557"/>
                      <a:gd name="T52" fmla="*/ 211 w 422"/>
                      <a:gd name="T53" fmla="*/ 293 h 557"/>
                      <a:gd name="T54" fmla="*/ 312 w 422"/>
                      <a:gd name="T55" fmla="*/ 394 h 557"/>
                      <a:gd name="T56" fmla="*/ 240 w 422"/>
                      <a:gd name="T57" fmla="*/ 375 h 557"/>
                      <a:gd name="T58" fmla="*/ 211 w 422"/>
                      <a:gd name="T59" fmla="*/ 346 h 557"/>
                      <a:gd name="T60" fmla="*/ 182 w 422"/>
                      <a:gd name="T61" fmla="*/ 375 h 557"/>
                      <a:gd name="T62" fmla="*/ 197 w 422"/>
                      <a:gd name="T63" fmla="*/ 400 h 557"/>
                      <a:gd name="T64" fmla="*/ 197 w 422"/>
                      <a:gd name="T65" fmla="*/ 442 h 557"/>
                      <a:gd name="T66" fmla="*/ 225 w 422"/>
                      <a:gd name="T67" fmla="*/ 442 h 557"/>
                      <a:gd name="T68" fmla="*/ 225 w 422"/>
                      <a:gd name="T69" fmla="*/ 400 h 557"/>
                      <a:gd name="T70" fmla="*/ 240 w 422"/>
                      <a:gd name="T71" fmla="*/ 375 h 5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422" h="557">
                        <a:moveTo>
                          <a:pt x="67" y="221"/>
                        </a:moveTo>
                        <a:cubicBezTo>
                          <a:pt x="67" y="143"/>
                          <a:pt x="67" y="143"/>
                          <a:pt x="67" y="143"/>
                        </a:cubicBezTo>
                        <a:cubicBezTo>
                          <a:pt x="67" y="64"/>
                          <a:pt x="131" y="0"/>
                          <a:pt x="210" y="0"/>
                        </a:cubicBezTo>
                        <a:cubicBezTo>
                          <a:pt x="212" y="0"/>
                          <a:pt x="212" y="0"/>
                          <a:pt x="212" y="0"/>
                        </a:cubicBezTo>
                        <a:cubicBezTo>
                          <a:pt x="291" y="0"/>
                          <a:pt x="355" y="64"/>
                          <a:pt x="355" y="143"/>
                        </a:cubicBezTo>
                        <a:cubicBezTo>
                          <a:pt x="355" y="221"/>
                          <a:pt x="355" y="221"/>
                          <a:pt x="355" y="221"/>
                        </a:cubicBezTo>
                        <a:cubicBezTo>
                          <a:pt x="307" y="221"/>
                          <a:pt x="307" y="221"/>
                          <a:pt x="307" y="221"/>
                        </a:cubicBezTo>
                        <a:cubicBezTo>
                          <a:pt x="307" y="149"/>
                          <a:pt x="307" y="149"/>
                          <a:pt x="307" y="149"/>
                        </a:cubicBezTo>
                        <a:cubicBezTo>
                          <a:pt x="307" y="93"/>
                          <a:pt x="264" y="48"/>
                          <a:pt x="212" y="48"/>
                        </a:cubicBezTo>
                        <a:cubicBezTo>
                          <a:pt x="210" y="48"/>
                          <a:pt x="210" y="48"/>
                          <a:pt x="210" y="48"/>
                        </a:cubicBezTo>
                        <a:cubicBezTo>
                          <a:pt x="158" y="48"/>
                          <a:pt x="115" y="93"/>
                          <a:pt x="115" y="149"/>
                        </a:cubicBezTo>
                        <a:cubicBezTo>
                          <a:pt x="115" y="221"/>
                          <a:pt x="115" y="221"/>
                          <a:pt x="115" y="221"/>
                        </a:cubicBezTo>
                        <a:lnTo>
                          <a:pt x="67" y="221"/>
                        </a:lnTo>
                        <a:close/>
                        <a:moveTo>
                          <a:pt x="422" y="557"/>
                        </a:moveTo>
                        <a:cubicBezTo>
                          <a:pt x="0" y="557"/>
                          <a:pt x="0" y="557"/>
                          <a:pt x="0" y="557"/>
                        </a:cubicBezTo>
                        <a:cubicBezTo>
                          <a:pt x="0" y="231"/>
                          <a:pt x="0" y="231"/>
                          <a:pt x="0" y="231"/>
                        </a:cubicBezTo>
                        <a:cubicBezTo>
                          <a:pt x="422" y="231"/>
                          <a:pt x="422" y="231"/>
                          <a:pt x="422" y="231"/>
                        </a:cubicBezTo>
                        <a:lnTo>
                          <a:pt x="422" y="557"/>
                        </a:lnTo>
                        <a:close/>
                        <a:moveTo>
                          <a:pt x="321" y="394"/>
                        </a:moveTo>
                        <a:cubicBezTo>
                          <a:pt x="321" y="333"/>
                          <a:pt x="272" y="283"/>
                          <a:pt x="211" y="283"/>
                        </a:cubicBezTo>
                        <a:cubicBezTo>
                          <a:pt x="150" y="283"/>
                          <a:pt x="101" y="333"/>
                          <a:pt x="101" y="394"/>
                        </a:cubicBezTo>
                        <a:cubicBezTo>
                          <a:pt x="101" y="455"/>
                          <a:pt x="150" y="504"/>
                          <a:pt x="211" y="504"/>
                        </a:cubicBezTo>
                        <a:cubicBezTo>
                          <a:pt x="272" y="504"/>
                          <a:pt x="321" y="455"/>
                          <a:pt x="321" y="394"/>
                        </a:cubicBezTo>
                        <a:moveTo>
                          <a:pt x="312" y="394"/>
                        </a:moveTo>
                        <a:cubicBezTo>
                          <a:pt x="312" y="450"/>
                          <a:pt x="267" y="495"/>
                          <a:pt x="211" y="495"/>
                        </a:cubicBezTo>
                        <a:cubicBezTo>
                          <a:pt x="155" y="495"/>
                          <a:pt x="110" y="450"/>
                          <a:pt x="110" y="394"/>
                        </a:cubicBezTo>
                        <a:cubicBezTo>
                          <a:pt x="110" y="338"/>
                          <a:pt x="155" y="293"/>
                          <a:pt x="211" y="293"/>
                        </a:cubicBezTo>
                        <a:cubicBezTo>
                          <a:pt x="267" y="293"/>
                          <a:pt x="312" y="338"/>
                          <a:pt x="312" y="394"/>
                        </a:cubicBezTo>
                        <a:moveTo>
                          <a:pt x="240" y="375"/>
                        </a:moveTo>
                        <a:cubicBezTo>
                          <a:pt x="240" y="359"/>
                          <a:pt x="227" y="346"/>
                          <a:pt x="211" y="346"/>
                        </a:cubicBezTo>
                        <a:cubicBezTo>
                          <a:pt x="195" y="346"/>
                          <a:pt x="182" y="359"/>
                          <a:pt x="182" y="375"/>
                        </a:cubicBezTo>
                        <a:cubicBezTo>
                          <a:pt x="182" y="385"/>
                          <a:pt x="188" y="395"/>
                          <a:pt x="197" y="400"/>
                        </a:cubicBezTo>
                        <a:cubicBezTo>
                          <a:pt x="197" y="442"/>
                          <a:pt x="197" y="442"/>
                          <a:pt x="197" y="442"/>
                        </a:cubicBezTo>
                        <a:cubicBezTo>
                          <a:pt x="225" y="442"/>
                          <a:pt x="225" y="442"/>
                          <a:pt x="225" y="442"/>
                        </a:cubicBezTo>
                        <a:cubicBezTo>
                          <a:pt x="225" y="400"/>
                          <a:pt x="225" y="400"/>
                          <a:pt x="225" y="400"/>
                        </a:cubicBezTo>
                        <a:cubicBezTo>
                          <a:pt x="234" y="395"/>
                          <a:pt x="240" y="385"/>
                          <a:pt x="240" y="375"/>
                        </a:cubicBezTo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100" dirty="0"/>
                  </a:p>
                </p:txBody>
              </p:sp>
            </p:grpSp>
            <p:sp>
              <p:nvSpPr>
                <p:cNvPr id="358" name="Textfeld 357"/>
                <p:cNvSpPr txBox="1">
                  <a:spLocks/>
                </p:cNvSpPr>
                <p:nvPr/>
              </p:nvSpPr>
              <p:spPr bwMode="gray">
                <a:xfrm>
                  <a:off x="6605800" y="5120714"/>
                  <a:ext cx="115416" cy="39395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1</a:t>
                  </a:r>
                </a:p>
              </p:txBody>
            </p:sp>
            <p:grpSp>
              <p:nvGrpSpPr>
                <p:cNvPr id="359" name="Group 54"/>
                <p:cNvGrpSpPr>
                  <a:grpSpLocks noChangeAspect="1"/>
                </p:cNvGrpSpPr>
                <p:nvPr>
                  <p:custDataLst>
                    <p:tags r:id="rId3"/>
                  </p:custDataLst>
                </p:nvPr>
              </p:nvGrpSpPr>
              <p:grpSpPr bwMode="gray">
                <a:xfrm>
                  <a:off x="6514332" y="5618166"/>
                  <a:ext cx="312374" cy="382496"/>
                  <a:chOff x="146" y="4104"/>
                  <a:chExt cx="804" cy="1039"/>
                </a:xfrm>
                <a:solidFill>
                  <a:schemeClr val="bg1"/>
                </a:solidFill>
              </p:grpSpPr>
              <p:sp>
                <p:nvSpPr>
                  <p:cNvPr id="660" name="Freeform 55"/>
                  <p:cNvSpPr>
                    <a:spLocks/>
                  </p:cNvSpPr>
                  <p:nvPr/>
                </p:nvSpPr>
                <p:spPr bwMode="gray">
                  <a:xfrm>
                    <a:off x="149" y="4952"/>
                    <a:ext cx="798" cy="191"/>
                  </a:xfrm>
                  <a:custGeom>
                    <a:avLst/>
                    <a:gdLst>
                      <a:gd name="T0" fmla="*/ 798 w 798"/>
                      <a:gd name="T1" fmla="*/ 191 h 191"/>
                      <a:gd name="T2" fmla="*/ 607 w 798"/>
                      <a:gd name="T3" fmla="*/ 0 h 191"/>
                      <a:gd name="T4" fmla="*/ 508 w 798"/>
                      <a:gd name="T5" fmla="*/ 0 h 191"/>
                      <a:gd name="T6" fmla="*/ 569 w 798"/>
                      <a:gd name="T7" fmla="*/ 61 h 191"/>
                      <a:gd name="T8" fmla="*/ 229 w 798"/>
                      <a:gd name="T9" fmla="*/ 61 h 191"/>
                      <a:gd name="T10" fmla="*/ 290 w 798"/>
                      <a:gd name="T11" fmla="*/ 0 h 191"/>
                      <a:gd name="T12" fmla="*/ 191 w 798"/>
                      <a:gd name="T13" fmla="*/ 0 h 191"/>
                      <a:gd name="T14" fmla="*/ 0 w 798"/>
                      <a:gd name="T15" fmla="*/ 191 h 191"/>
                      <a:gd name="T16" fmla="*/ 99 w 798"/>
                      <a:gd name="T17" fmla="*/ 191 h 191"/>
                      <a:gd name="T18" fmla="*/ 160 w 798"/>
                      <a:gd name="T19" fmla="*/ 130 h 191"/>
                      <a:gd name="T20" fmla="*/ 637 w 798"/>
                      <a:gd name="T21" fmla="*/ 130 h 191"/>
                      <a:gd name="T22" fmla="*/ 637 w 798"/>
                      <a:gd name="T23" fmla="*/ 129 h 191"/>
                      <a:gd name="T24" fmla="*/ 699 w 798"/>
                      <a:gd name="T25" fmla="*/ 191 h 191"/>
                      <a:gd name="T26" fmla="*/ 798 w 798"/>
                      <a:gd name="T27" fmla="*/ 191 h 1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798" h="191">
                        <a:moveTo>
                          <a:pt x="798" y="191"/>
                        </a:moveTo>
                        <a:lnTo>
                          <a:pt x="607" y="0"/>
                        </a:lnTo>
                        <a:lnTo>
                          <a:pt x="508" y="0"/>
                        </a:lnTo>
                        <a:lnTo>
                          <a:pt x="569" y="61"/>
                        </a:lnTo>
                        <a:lnTo>
                          <a:pt x="229" y="61"/>
                        </a:lnTo>
                        <a:lnTo>
                          <a:pt x="290" y="0"/>
                        </a:lnTo>
                        <a:lnTo>
                          <a:pt x="191" y="0"/>
                        </a:lnTo>
                        <a:lnTo>
                          <a:pt x="0" y="191"/>
                        </a:lnTo>
                        <a:lnTo>
                          <a:pt x="99" y="191"/>
                        </a:lnTo>
                        <a:lnTo>
                          <a:pt x="160" y="130"/>
                        </a:lnTo>
                        <a:lnTo>
                          <a:pt x="637" y="130"/>
                        </a:lnTo>
                        <a:lnTo>
                          <a:pt x="637" y="129"/>
                        </a:lnTo>
                        <a:lnTo>
                          <a:pt x="699" y="191"/>
                        </a:lnTo>
                        <a:lnTo>
                          <a:pt x="798" y="191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lnSpc>
                        <a:spcPct val="110000"/>
                      </a:lnSpc>
                      <a:spcBef>
                        <a:spcPct val="0"/>
                      </a:spcBef>
                    </a:pPr>
                    <a:endParaRPr lang="en-US" sz="1300" kern="1400" dirty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61" name="Freeform 56"/>
                  <p:cNvSpPr>
                    <a:spLocks noEditPoints="1"/>
                  </p:cNvSpPr>
                  <p:nvPr/>
                </p:nvSpPr>
                <p:spPr bwMode="gray">
                  <a:xfrm>
                    <a:off x="146" y="4104"/>
                    <a:ext cx="804" cy="814"/>
                  </a:xfrm>
                  <a:custGeom>
                    <a:avLst/>
                    <a:gdLst>
                      <a:gd name="T0" fmla="*/ 616 w 618"/>
                      <a:gd name="T1" fmla="*/ 533 h 627"/>
                      <a:gd name="T2" fmla="*/ 597 w 618"/>
                      <a:gd name="T3" fmla="*/ 93 h 627"/>
                      <a:gd name="T4" fmla="*/ 498 w 618"/>
                      <a:gd name="T5" fmla="*/ 0 h 627"/>
                      <a:gd name="T6" fmla="*/ 120 w 618"/>
                      <a:gd name="T7" fmla="*/ 0 h 627"/>
                      <a:gd name="T8" fmla="*/ 21 w 618"/>
                      <a:gd name="T9" fmla="*/ 93 h 627"/>
                      <a:gd name="T10" fmla="*/ 2 w 618"/>
                      <a:gd name="T11" fmla="*/ 533 h 627"/>
                      <a:gd name="T12" fmla="*/ 93 w 618"/>
                      <a:gd name="T13" fmla="*/ 627 h 627"/>
                      <a:gd name="T14" fmla="*/ 525 w 618"/>
                      <a:gd name="T15" fmla="*/ 627 h 627"/>
                      <a:gd name="T16" fmla="*/ 616 w 618"/>
                      <a:gd name="T17" fmla="*/ 533 h 627"/>
                      <a:gd name="T18" fmla="*/ 109 w 618"/>
                      <a:gd name="T19" fmla="*/ 553 h 627"/>
                      <a:gd name="T20" fmla="*/ 69 w 618"/>
                      <a:gd name="T21" fmla="*/ 513 h 627"/>
                      <a:gd name="T22" fmla="*/ 109 w 618"/>
                      <a:gd name="T23" fmla="*/ 473 h 627"/>
                      <a:gd name="T24" fmla="*/ 149 w 618"/>
                      <a:gd name="T25" fmla="*/ 513 h 627"/>
                      <a:gd name="T26" fmla="*/ 109 w 618"/>
                      <a:gd name="T27" fmla="*/ 553 h 627"/>
                      <a:gd name="T28" fmla="*/ 509 w 618"/>
                      <a:gd name="T29" fmla="*/ 553 h 627"/>
                      <a:gd name="T30" fmla="*/ 469 w 618"/>
                      <a:gd name="T31" fmla="*/ 513 h 627"/>
                      <a:gd name="T32" fmla="*/ 509 w 618"/>
                      <a:gd name="T33" fmla="*/ 473 h 627"/>
                      <a:gd name="T34" fmla="*/ 549 w 618"/>
                      <a:gd name="T35" fmla="*/ 513 h 627"/>
                      <a:gd name="T36" fmla="*/ 509 w 618"/>
                      <a:gd name="T37" fmla="*/ 553 h 627"/>
                      <a:gd name="T38" fmla="*/ 526 w 618"/>
                      <a:gd name="T39" fmla="*/ 301 h 627"/>
                      <a:gd name="T40" fmla="*/ 92 w 618"/>
                      <a:gd name="T41" fmla="*/ 301 h 627"/>
                      <a:gd name="T42" fmla="*/ 67 w 618"/>
                      <a:gd name="T43" fmla="*/ 274 h 627"/>
                      <a:gd name="T44" fmla="*/ 73 w 618"/>
                      <a:gd name="T45" fmla="*/ 127 h 627"/>
                      <a:gd name="T46" fmla="*/ 101 w 618"/>
                      <a:gd name="T47" fmla="*/ 101 h 627"/>
                      <a:gd name="T48" fmla="*/ 517 w 618"/>
                      <a:gd name="T49" fmla="*/ 101 h 627"/>
                      <a:gd name="T50" fmla="*/ 545 w 618"/>
                      <a:gd name="T51" fmla="*/ 127 h 627"/>
                      <a:gd name="T52" fmla="*/ 551 w 618"/>
                      <a:gd name="T53" fmla="*/ 274 h 627"/>
                      <a:gd name="T54" fmla="*/ 526 w 618"/>
                      <a:gd name="T55" fmla="*/ 301 h 6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618" h="627">
                        <a:moveTo>
                          <a:pt x="616" y="533"/>
                        </a:moveTo>
                        <a:cubicBezTo>
                          <a:pt x="597" y="93"/>
                          <a:pt x="597" y="93"/>
                          <a:pt x="597" y="93"/>
                        </a:cubicBezTo>
                        <a:cubicBezTo>
                          <a:pt x="594" y="42"/>
                          <a:pt x="550" y="0"/>
                          <a:pt x="498" y="0"/>
                        </a:cubicBezTo>
                        <a:cubicBezTo>
                          <a:pt x="120" y="0"/>
                          <a:pt x="120" y="0"/>
                          <a:pt x="120" y="0"/>
                        </a:cubicBezTo>
                        <a:cubicBezTo>
                          <a:pt x="68" y="0"/>
                          <a:pt x="24" y="42"/>
                          <a:pt x="21" y="93"/>
                        </a:cubicBezTo>
                        <a:cubicBezTo>
                          <a:pt x="2" y="533"/>
                          <a:pt x="2" y="533"/>
                          <a:pt x="2" y="533"/>
                        </a:cubicBezTo>
                        <a:cubicBezTo>
                          <a:pt x="0" y="585"/>
                          <a:pt x="41" y="627"/>
                          <a:pt x="93" y="627"/>
                        </a:cubicBezTo>
                        <a:cubicBezTo>
                          <a:pt x="525" y="627"/>
                          <a:pt x="525" y="627"/>
                          <a:pt x="525" y="627"/>
                        </a:cubicBezTo>
                        <a:cubicBezTo>
                          <a:pt x="577" y="627"/>
                          <a:pt x="618" y="585"/>
                          <a:pt x="616" y="533"/>
                        </a:cubicBezTo>
                        <a:close/>
                        <a:moveTo>
                          <a:pt x="109" y="553"/>
                        </a:moveTo>
                        <a:cubicBezTo>
                          <a:pt x="87" y="553"/>
                          <a:pt x="69" y="535"/>
                          <a:pt x="69" y="513"/>
                        </a:cubicBezTo>
                        <a:cubicBezTo>
                          <a:pt x="69" y="491"/>
                          <a:pt x="87" y="473"/>
                          <a:pt x="109" y="473"/>
                        </a:cubicBezTo>
                        <a:cubicBezTo>
                          <a:pt x="131" y="473"/>
                          <a:pt x="149" y="491"/>
                          <a:pt x="149" y="513"/>
                        </a:cubicBezTo>
                        <a:cubicBezTo>
                          <a:pt x="149" y="535"/>
                          <a:pt x="131" y="553"/>
                          <a:pt x="109" y="553"/>
                        </a:cubicBezTo>
                        <a:close/>
                        <a:moveTo>
                          <a:pt x="509" y="553"/>
                        </a:moveTo>
                        <a:cubicBezTo>
                          <a:pt x="487" y="553"/>
                          <a:pt x="469" y="535"/>
                          <a:pt x="469" y="513"/>
                        </a:cubicBezTo>
                        <a:cubicBezTo>
                          <a:pt x="469" y="491"/>
                          <a:pt x="487" y="473"/>
                          <a:pt x="509" y="473"/>
                        </a:cubicBezTo>
                        <a:cubicBezTo>
                          <a:pt x="531" y="473"/>
                          <a:pt x="549" y="491"/>
                          <a:pt x="549" y="513"/>
                        </a:cubicBezTo>
                        <a:cubicBezTo>
                          <a:pt x="549" y="535"/>
                          <a:pt x="531" y="553"/>
                          <a:pt x="509" y="553"/>
                        </a:cubicBezTo>
                        <a:close/>
                        <a:moveTo>
                          <a:pt x="526" y="301"/>
                        </a:moveTo>
                        <a:cubicBezTo>
                          <a:pt x="92" y="301"/>
                          <a:pt x="92" y="301"/>
                          <a:pt x="92" y="301"/>
                        </a:cubicBezTo>
                        <a:cubicBezTo>
                          <a:pt x="78" y="301"/>
                          <a:pt x="66" y="289"/>
                          <a:pt x="67" y="274"/>
                        </a:cubicBezTo>
                        <a:cubicBezTo>
                          <a:pt x="73" y="127"/>
                          <a:pt x="73" y="127"/>
                          <a:pt x="73" y="127"/>
                        </a:cubicBezTo>
                        <a:cubicBezTo>
                          <a:pt x="74" y="113"/>
                          <a:pt x="86" y="101"/>
                          <a:pt x="101" y="101"/>
                        </a:cubicBezTo>
                        <a:cubicBezTo>
                          <a:pt x="517" y="101"/>
                          <a:pt x="517" y="101"/>
                          <a:pt x="517" y="101"/>
                        </a:cubicBezTo>
                        <a:cubicBezTo>
                          <a:pt x="532" y="101"/>
                          <a:pt x="544" y="113"/>
                          <a:pt x="545" y="127"/>
                        </a:cubicBezTo>
                        <a:cubicBezTo>
                          <a:pt x="551" y="274"/>
                          <a:pt x="551" y="274"/>
                          <a:pt x="551" y="274"/>
                        </a:cubicBezTo>
                        <a:cubicBezTo>
                          <a:pt x="552" y="289"/>
                          <a:pt x="540" y="301"/>
                          <a:pt x="526" y="30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lnSpc>
                        <a:spcPct val="110000"/>
                      </a:lnSpc>
                      <a:spcBef>
                        <a:spcPct val="0"/>
                      </a:spcBef>
                    </a:pPr>
                    <a:endParaRPr lang="en-US" sz="1300" kern="1400" dirty="0">
                      <a:solidFill>
                        <a:srgbClr val="000000"/>
                      </a:solidFill>
                      <a:latin typeface="Arial" charset="0"/>
                      <a:ea typeface="ＭＳ Ｐゴシック" pitchFamily="34" charset="-128"/>
                    </a:endParaRPr>
                  </a:p>
                </p:txBody>
              </p:sp>
            </p:grpSp>
            <p:sp>
              <p:nvSpPr>
                <p:cNvPr id="360" name="Textfeld 359"/>
                <p:cNvSpPr txBox="1">
                  <a:spLocks/>
                </p:cNvSpPr>
                <p:nvPr/>
              </p:nvSpPr>
              <p:spPr bwMode="gray">
                <a:xfrm>
                  <a:off x="8433782" y="5120714"/>
                  <a:ext cx="115416" cy="39395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1</a:t>
                  </a:r>
                </a:p>
              </p:txBody>
            </p:sp>
            <p:sp>
              <p:nvSpPr>
                <p:cNvPr id="361" name="Textfeld 360"/>
                <p:cNvSpPr txBox="1">
                  <a:spLocks/>
                </p:cNvSpPr>
                <p:nvPr/>
              </p:nvSpPr>
              <p:spPr bwMode="gray">
                <a:xfrm>
                  <a:off x="10267582" y="5120714"/>
                  <a:ext cx="115416" cy="39395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0</a:t>
                  </a:r>
                </a:p>
              </p:txBody>
            </p:sp>
            <p:sp>
              <p:nvSpPr>
                <p:cNvPr id="362" name="Freeform 40"/>
                <p:cNvSpPr>
                  <a:spLocks noEditPoints="1"/>
                </p:cNvSpPr>
                <p:nvPr/>
              </p:nvSpPr>
              <p:spPr bwMode="gray">
                <a:xfrm>
                  <a:off x="9222849" y="5600090"/>
                  <a:ext cx="459918" cy="378915"/>
                </a:xfrm>
                <a:custGeom>
                  <a:avLst/>
                  <a:gdLst>
                    <a:gd name="T0" fmla="*/ 1453 w 2667"/>
                    <a:gd name="T1" fmla="*/ 536 h 2279"/>
                    <a:gd name="T2" fmla="*/ 1453 w 2667"/>
                    <a:gd name="T3" fmla="*/ 227 h 2279"/>
                    <a:gd name="T4" fmla="*/ 1824 w 2667"/>
                    <a:gd name="T5" fmla="*/ 1227 h 2279"/>
                    <a:gd name="T6" fmla="*/ 1731 w 2667"/>
                    <a:gd name="T7" fmla="*/ 645 h 2279"/>
                    <a:gd name="T8" fmla="*/ 1267 w 2667"/>
                    <a:gd name="T9" fmla="*/ 567 h 2279"/>
                    <a:gd name="T10" fmla="*/ 1176 w 2667"/>
                    <a:gd name="T11" fmla="*/ 645 h 2279"/>
                    <a:gd name="T12" fmla="*/ 1081 w 2667"/>
                    <a:gd name="T13" fmla="*/ 1233 h 2279"/>
                    <a:gd name="T14" fmla="*/ 1173 w 2667"/>
                    <a:gd name="T15" fmla="*/ 1243 h 2279"/>
                    <a:gd name="T16" fmla="*/ 1267 w 2667"/>
                    <a:gd name="T17" fmla="*/ 805 h 2279"/>
                    <a:gd name="T18" fmla="*/ 1314 w 2667"/>
                    <a:gd name="T19" fmla="*/ 2085 h 2279"/>
                    <a:gd name="T20" fmla="*/ 1444 w 2667"/>
                    <a:gd name="T21" fmla="*/ 1287 h 2279"/>
                    <a:gd name="T22" fmla="*/ 1547 w 2667"/>
                    <a:gd name="T23" fmla="*/ 2045 h 2279"/>
                    <a:gd name="T24" fmla="*/ 1639 w 2667"/>
                    <a:gd name="T25" fmla="*/ 2039 h 2279"/>
                    <a:gd name="T26" fmla="*/ 1733 w 2667"/>
                    <a:gd name="T27" fmla="*/ 1243 h 2279"/>
                    <a:gd name="T28" fmla="*/ 1778 w 2667"/>
                    <a:gd name="T29" fmla="*/ 1280 h 2279"/>
                    <a:gd name="T30" fmla="*/ 1824 w 2667"/>
                    <a:gd name="T31" fmla="*/ 1227 h 2279"/>
                    <a:gd name="T32" fmla="*/ 615 w 2667"/>
                    <a:gd name="T33" fmla="*/ 536 h 2279"/>
                    <a:gd name="T34" fmla="*/ 615 w 2667"/>
                    <a:gd name="T35" fmla="*/ 227 h 2279"/>
                    <a:gd name="T36" fmla="*/ 986 w 2667"/>
                    <a:gd name="T37" fmla="*/ 1227 h 2279"/>
                    <a:gd name="T38" fmla="*/ 892 w 2667"/>
                    <a:gd name="T39" fmla="*/ 645 h 2279"/>
                    <a:gd name="T40" fmla="*/ 429 w 2667"/>
                    <a:gd name="T41" fmla="*/ 567 h 2279"/>
                    <a:gd name="T42" fmla="*/ 337 w 2667"/>
                    <a:gd name="T43" fmla="*/ 645 h 2279"/>
                    <a:gd name="T44" fmla="*/ 243 w 2667"/>
                    <a:gd name="T45" fmla="*/ 1233 h 2279"/>
                    <a:gd name="T46" fmla="*/ 335 w 2667"/>
                    <a:gd name="T47" fmla="*/ 1243 h 2279"/>
                    <a:gd name="T48" fmla="*/ 429 w 2667"/>
                    <a:gd name="T49" fmla="*/ 805 h 2279"/>
                    <a:gd name="T50" fmla="*/ 475 w 2667"/>
                    <a:gd name="T51" fmla="*/ 2085 h 2279"/>
                    <a:gd name="T52" fmla="*/ 605 w 2667"/>
                    <a:gd name="T53" fmla="*/ 1287 h 2279"/>
                    <a:gd name="T54" fmla="*/ 708 w 2667"/>
                    <a:gd name="T55" fmla="*/ 2045 h 2279"/>
                    <a:gd name="T56" fmla="*/ 801 w 2667"/>
                    <a:gd name="T57" fmla="*/ 2039 h 2279"/>
                    <a:gd name="T58" fmla="*/ 895 w 2667"/>
                    <a:gd name="T59" fmla="*/ 1243 h 2279"/>
                    <a:gd name="T60" fmla="*/ 940 w 2667"/>
                    <a:gd name="T61" fmla="*/ 1280 h 2279"/>
                    <a:gd name="T62" fmla="*/ 986 w 2667"/>
                    <a:gd name="T63" fmla="*/ 1227 h 2279"/>
                    <a:gd name="T64" fmla="*/ 2420 w 2667"/>
                    <a:gd name="T65" fmla="*/ 0 h 2279"/>
                    <a:gd name="T66" fmla="*/ 2292 w 2667"/>
                    <a:gd name="T67" fmla="*/ 428 h 2279"/>
                    <a:gd name="T68" fmla="*/ 2540 w 2667"/>
                    <a:gd name="T69" fmla="*/ 1082 h 2279"/>
                    <a:gd name="T70" fmla="*/ 2667 w 2667"/>
                    <a:gd name="T71" fmla="*/ 428 h 2279"/>
                    <a:gd name="T72" fmla="*/ 2420 w 2667"/>
                    <a:gd name="T73" fmla="*/ 2278 h 2279"/>
                    <a:gd name="T74" fmla="*/ 2540 w 2667"/>
                    <a:gd name="T75" fmla="*/ 1850 h 2279"/>
                    <a:gd name="T76" fmla="*/ 2292 w 2667"/>
                    <a:gd name="T77" fmla="*/ 1196 h 2279"/>
                    <a:gd name="T78" fmla="*/ 2172 w 2667"/>
                    <a:gd name="T79" fmla="*/ 1850 h 2279"/>
                    <a:gd name="T80" fmla="*/ 0 w 2667"/>
                    <a:gd name="T81" fmla="*/ 2279 h 2279"/>
                    <a:gd name="T82" fmla="*/ 2104 w 2667"/>
                    <a:gd name="T83" fmla="*/ 1 h 2279"/>
                    <a:gd name="T84" fmla="*/ 93 w 2667"/>
                    <a:gd name="T85" fmla="*/ 2186 h 2279"/>
                    <a:gd name="T86" fmla="*/ 2011 w 2667"/>
                    <a:gd name="T87" fmla="*/ 94 h 2279"/>
                    <a:gd name="T88" fmla="*/ 93 w 2667"/>
                    <a:gd name="T89" fmla="*/ 2186 h 22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667" h="2279">
                      <a:moveTo>
                        <a:pt x="1608" y="381"/>
                      </a:moveTo>
                      <a:cubicBezTo>
                        <a:pt x="1608" y="467"/>
                        <a:pt x="1539" y="536"/>
                        <a:pt x="1453" y="536"/>
                      </a:cubicBezTo>
                      <a:cubicBezTo>
                        <a:pt x="1368" y="536"/>
                        <a:pt x="1298" y="467"/>
                        <a:pt x="1298" y="381"/>
                      </a:cubicBezTo>
                      <a:cubicBezTo>
                        <a:pt x="1298" y="296"/>
                        <a:pt x="1368" y="227"/>
                        <a:pt x="1453" y="227"/>
                      </a:cubicBezTo>
                      <a:cubicBezTo>
                        <a:pt x="1539" y="227"/>
                        <a:pt x="1608" y="296"/>
                        <a:pt x="1608" y="381"/>
                      </a:cubicBezTo>
                      <a:close/>
                      <a:moveTo>
                        <a:pt x="1824" y="1227"/>
                      </a:moveTo>
                      <a:cubicBezTo>
                        <a:pt x="1731" y="645"/>
                        <a:pt x="1731" y="645"/>
                        <a:pt x="1731" y="645"/>
                      </a:cubicBezTo>
                      <a:cubicBezTo>
                        <a:pt x="1731" y="645"/>
                        <a:pt x="1731" y="645"/>
                        <a:pt x="1731" y="645"/>
                      </a:cubicBezTo>
                      <a:cubicBezTo>
                        <a:pt x="1723" y="601"/>
                        <a:pt x="1685" y="567"/>
                        <a:pt x="1639" y="567"/>
                      </a:cubicBezTo>
                      <a:cubicBezTo>
                        <a:pt x="1267" y="567"/>
                        <a:pt x="1267" y="567"/>
                        <a:pt x="1267" y="567"/>
                      </a:cubicBezTo>
                      <a:cubicBezTo>
                        <a:pt x="1221" y="567"/>
                        <a:pt x="1183" y="601"/>
                        <a:pt x="1176" y="645"/>
                      </a:cubicBezTo>
                      <a:cubicBezTo>
                        <a:pt x="1176" y="645"/>
                        <a:pt x="1176" y="645"/>
                        <a:pt x="1176" y="645"/>
                      </a:cubicBezTo>
                      <a:cubicBezTo>
                        <a:pt x="1082" y="1227"/>
                        <a:pt x="1082" y="1227"/>
                        <a:pt x="1082" y="1227"/>
                      </a:cubicBezTo>
                      <a:cubicBezTo>
                        <a:pt x="1082" y="1229"/>
                        <a:pt x="1081" y="1231"/>
                        <a:pt x="1081" y="1233"/>
                      </a:cubicBezTo>
                      <a:cubicBezTo>
                        <a:pt x="1081" y="1259"/>
                        <a:pt x="1102" y="1280"/>
                        <a:pt x="1128" y="1280"/>
                      </a:cubicBezTo>
                      <a:cubicBezTo>
                        <a:pt x="1150" y="1280"/>
                        <a:pt x="1169" y="1264"/>
                        <a:pt x="1173" y="1243"/>
                      </a:cubicBezTo>
                      <a:cubicBezTo>
                        <a:pt x="1173" y="1243"/>
                        <a:pt x="1173" y="1243"/>
                        <a:pt x="1173" y="1243"/>
                      </a:cubicBezTo>
                      <a:cubicBezTo>
                        <a:pt x="1267" y="805"/>
                        <a:pt x="1267" y="805"/>
                        <a:pt x="1267" y="805"/>
                      </a:cubicBezTo>
                      <a:cubicBezTo>
                        <a:pt x="1267" y="2039"/>
                        <a:pt x="1267" y="2039"/>
                        <a:pt x="1267" y="2039"/>
                      </a:cubicBezTo>
                      <a:cubicBezTo>
                        <a:pt x="1267" y="2064"/>
                        <a:pt x="1288" y="2085"/>
                        <a:pt x="1314" y="2085"/>
                      </a:cubicBezTo>
                      <a:cubicBezTo>
                        <a:pt x="1337" y="2085"/>
                        <a:pt x="1357" y="2068"/>
                        <a:pt x="1360" y="2045"/>
                      </a:cubicBezTo>
                      <a:cubicBezTo>
                        <a:pt x="1444" y="1287"/>
                        <a:pt x="1444" y="1287"/>
                        <a:pt x="1444" y="1287"/>
                      </a:cubicBezTo>
                      <a:cubicBezTo>
                        <a:pt x="1445" y="1276"/>
                        <a:pt x="1461" y="1276"/>
                        <a:pt x="1462" y="1287"/>
                      </a:cubicBezTo>
                      <a:cubicBezTo>
                        <a:pt x="1547" y="2045"/>
                        <a:pt x="1547" y="2045"/>
                        <a:pt x="1547" y="2045"/>
                      </a:cubicBezTo>
                      <a:cubicBezTo>
                        <a:pt x="1550" y="2068"/>
                        <a:pt x="1569" y="2085"/>
                        <a:pt x="1593" y="2085"/>
                      </a:cubicBezTo>
                      <a:cubicBezTo>
                        <a:pt x="1618" y="2085"/>
                        <a:pt x="1639" y="2064"/>
                        <a:pt x="1639" y="2039"/>
                      </a:cubicBezTo>
                      <a:cubicBezTo>
                        <a:pt x="1639" y="805"/>
                        <a:pt x="1639" y="805"/>
                        <a:pt x="1639" y="805"/>
                      </a:cubicBezTo>
                      <a:cubicBezTo>
                        <a:pt x="1733" y="1243"/>
                        <a:pt x="1733" y="1243"/>
                        <a:pt x="1733" y="1243"/>
                      </a:cubicBezTo>
                      <a:cubicBezTo>
                        <a:pt x="1733" y="1243"/>
                        <a:pt x="1733" y="1243"/>
                        <a:pt x="1733" y="1243"/>
                      </a:cubicBezTo>
                      <a:cubicBezTo>
                        <a:pt x="1738" y="1264"/>
                        <a:pt x="1756" y="1280"/>
                        <a:pt x="1778" y="1280"/>
                      </a:cubicBezTo>
                      <a:cubicBezTo>
                        <a:pt x="1804" y="1280"/>
                        <a:pt x="1825" y="1259"/>
                        <a:pt x="1825" y="1233"/>
                      </a:cubicBezTo>
                      <a:cubicBezTo>
                        <a:pt x="1825" y="1231"/>
                        <a:pt x="1825" y="1229"/>
                        <a:pt x="1824" y="1227"/>
                      </a:cubicBezTo>
                      <a:close/>
                      <a:moveTo>
                        <a:pt x="770" y="381"/>
                      </a:moveTo>
                      <a:cubicBezTo>
                        <a:pt x="770" y="467"/>
                        <a:pt x="700" y="536"/>
                        <a:pt x="615" y="536"/>
                      </a:cubicBezTo>
                      <a:cubicBezTo>
                        <a:pt x="529" y="536"/>
                        <a:pt x="460" y="467"/>
                        <a:pt x="460" y="381"/>
                      </a:cubicBezTo>
                      <a:cubicBezTo>
                        <a:pt x="460" y="296"/>
                        <a:pt x="529" y="227"/>
                        <a:pt x="615" y="227"/>
                      </a:cubicBezTo>
                      <a:cubicBezTo>
                        <a:pt x="700" y="227"/>
                        <a:pt x="770" y="296"/>
                        <a:pt x="770" y="381"/>
                      </a:cubicBezTo>
                      <a:close/>
                      <a:moveTo>
                        <a:pt x="986" y="1227"/>
                      </a:moveTo>
                      <a:cubicBezTo>
                        <a:pt x="892" y="645"/>
                        <a:pt x="892" y="645"/>
                        <a:pt x="892" y="645"/>
                      </a:cubicBezTo>
                      <a:cubicBezTo>
                        <a:pt x="892" y="645"/>
                        <a:pt x="892" y="645"/>
                        <a:pt x="892" y="645"/>
                      </a:cubicBezTo>
                      <a:cubicBezTo>
                        <a:pt x="885" y="601"/>
                        <a:pt x="847" y="567"/>
                        <a:pt x="801" y="567"/>
                      </a:cubicBezTo>
                      <a:cubicBezTo>
                        <a:pt x="429" y="567"/>
                        <a:pt x="429" y="567"/>
                        <a:pt x="429" y="567"/>
                      </a:cubicBezTo>
                      <a:cubicBezTo>
                        <a:pt x="383" y="567"/>
                        <a:pt x="345" y="601"/>
                        <a:pt x="337" y="645"/>
                      </a:cubicBezTo>
                      <a:cubicBezTo>
                        <a:pt x="337" y="645"/>
                        <a:pt x="337" y="645"/>
                        <a:pt x="337" y="645"/>
                      </a:cubicBezTo>
                      <a:cubicBezTo>
                        <a:pt x="244" y="1227"/>
                        <a:pt x="244" y="1227"/>
                        <a:pt x="244" y="1227"/>
                      </a:cubicBezTo>
                      <a:cubicBezTo>
                        <a:pt x="243" y="1229"/>
                        <a:pt x="243" y="1231"/>
                        <a:pt x="243" y="1233"/>
                      </a:cubicBezTo>
                      <a:cubicBezTo>
                        <a:pt x="243" y="1259"/>
                        <a:pt x="264" y="1280"/>
                        <a:pt x="289" y="1280"/>
                      </a:cubicBezTo>
                      <a:cubicBezTo>
                        <a:pt x="312" y="1280"/>
                        <a:pt x="330" y="1264"/>
                        <a:pt x="335" y="1243"/>
                      </a:cubicBezTo>
                      <a:cubicBezTo>
                        <a:pt x="335" y="1243"/>
                        <a:pt x="335" y="1243"/>
                        <a:pt x="335" y="1243"/>
                      </a:cubicBezTo>
                      <a:cubicBezTo>
                        <a:pt x="429" y="805"/>
                        <a:pt x="429" y="805"/>
                        <a:pt x="429" y="805"/>
                      </a:cubicBezTo>
                      <a:cubicBezTo>
                        <a:pt x="429" y="2039"/>
                        <a:pt x="429" y="2039"/>
                        <a:pt x="429" y="2039"/>
                      </a:cubicBezTo>
                      <a:cubicBezTo>
                        <a:pt x="429" y="2064"/>
                        <a:pt x="450" y="2085"/>
                        <a:pt x="475" y="2085"/>
                      </a:cubicBezTo>
                      <a:cubicBezTo>
                        <a:pt x="499" y="2085"/>
                        <a:pt x="518" y="2068"/>
                        <a:pt x="521" y="2045"/>
                      </a:cubicBezTo>
                      <a:cubicBezTo>
                        <a:pt x="605" y="1287"/>
                        <a:pt x="605" y="1287"/>
                        <a:pt x="605" y="1287"/>
                      </a:cubicBezTo>
                      <a:cubicBezTo>
                        <a:pt x="607" y="1276"/>
                        <a:pt x="622" y="1276"/>
                        <a:pt x="624" y="1287"/>
                      </a:cubicBezTo>
                      <a:cubicBezTo>
                        <a:pt x="708" y="2045"/>
                        <a:pt x="708" y="2045"/>
                        <a:pt x="708" y="2045"/>
                      </a:cubicBezTo>
                      <a:cubicBezTo>
                        <a:pt x="711" y="2068"/>
                        <a:pt x="731" y="2085"/>
                        <a:pt x="754" y="2085"/>
                      </a:cubicBezTo>
                      <a:cubicBezTo>
                        <a:pt x="780" y="2085"/>
                        <a:pt x="801" y="2064"/>
                        <a:pt x="801" y="2039"/>
                      </a:cubicBezTo>
                      <a:cubicBezTo>
                        <a:pt x="801" y="805"/>
                        <a:pt x="801" y="805"/>
                        <a:pt x="801" y="805"/>
                      </a:cubicBezTo>
                      <a:cubicBezTo>
                        <a:pt x="895" y="1243"/>
                        <a:pt x="895" y="1243"/>
                        <a:pt x="895" y="1243"/>
                      </a:cubicBezTo>
                      <a:cubicBezTo>
                        <a:pt x="895" y="1243"/>
                        <a:pt x="895" y="1243"/>
                        <a:pt x="895" y="1243"/>
                      </a:cubicBezTo>
                      <a:cubicBezTo>
                        <a:pt x="899" y="1264"/>
                        <a:pt x="918" y="1280"/>
                        <a:pt x="940" y="1280"/>
                      </a:cubicBezTo>
                      <a:cubicBezTo>
                        <a:pt x="966" y="1280"/>
                        <a:pt x="986" y="1259"/>
                        <a:pt x="986" y="1233"/>
                      </a:cubicBezTo>
                      <a:cubicBezTo>
                        <a:pt x="986" y="1231"/>
                        <a:pt x="986" y="1229"/>
                        <a:pt x="986" y="1227"/>
                      </a:cubicBezTo>
                      <a:close/>
                      <a:moveTo>
                        <a:pt x="2667" y="428"/>
                      </a:moveTo>
                      <a:cubicBezTo>
                        <a:pt x="2420" y="0"/>
                        <a:pt x="2420" y="0"/>
                        <a:pt x="2420" y="0"/>
                      </a:cubicBezTo>
                      <a:cubicBezTo>
                        <a:pt x="2172" y="428"/>
                        <a:pt x="2172" y="428"/>
                        <a:pt x="2172" y="428"/>
                      </a:cubicBezTo>
                      <a:cubicBezTo>
                        <a:pt x="2292" y="428"/>
                        <a:pt x="2292" y="428"/>
                        <a:pt x="2292" y="428"/>
                      </a:cubicBezTo>
                      <a:cubicBezTo>
                        <a:pt x="2292" y="1082"/>
                        <a:pt x="2292" y="1082"/>
                        <a:pt x="2292" y="1082"/>
                      </a:cubicBezTo>
                      <a:cubicBezTo>
                        <a:pt x="2540" y="1082"/>
                        <a:pt x="2540" y="1082"/>
                        <a:pt x="2540" y="1082"/>
                      </a:cubicBezTo>
                      <a:cubicBezTo>
                        <a:pt x="2540" y="428"/>
                        <a:pt x="2540" y="428"/>
                        <a:pt x="2540" y="428"/>
                      </a:cubicBezTo>
                      <a:lnTo>
                        <a:pt x="2667" y="428"/>
                      </a:lnTo>
                      <a:close/>
                      <a:moveTo>
                        <a:pt x="2172" y="1850"/>
                      </a:moveTo>
                      <a:cubicBezTo>
                        <a:pt x="2420" y="2278"/>
                        <a:pt x="2420" y="2278"/>
                        <a:pt x="2420" y="2278"/>
                      </a:cubicBezTo>
                      <a:cubicBezTo>
                        <a:pt x="2667" y="1850"/>
                        <a:pt x="2667" y="1850"/>
                        <a:pt x="2667" y="1850"/>
                      </a:cubicBezTo>
                      <a:cubicBezTo>
                        <a:pt x="2540" y="1850"/>
                        <a:pt x="2540" y="1850"/>
                        <a:pt x="2540" y="1850"/>
                      </a:cubicBezTo>
                      <a:cubicBezTo>
                        <a:pt x="2540" y="1196"/>
                        <a:pt x="2540" y="1196"/>
                        <a:pt x="2540" y="1196"/>
                      </a:cubicBezTo>
                      <a:cubicBezTo>
                        <a:pt x="2292" y="1196"/>
                        <a:pt x="2292" y="1196"/>
                        <a:pt x="2292" y="1196"/>
                      </a:cubicBezTo>
                      <a:cubicBezTo>
                        <a:pt x="2292" y="1850"/>
                        <a:pt x="2292" y="1850"/>
                        <a:pt x="2292" y="1850"/>
                      </a:cubicBezTo>
                      <a:lnTo>
                        <a:pt x="2172" y="1850"/>
                      </a:lnTo>
                      <a:close/>
                      <a:moveTo>
                        <a:pt x="2104" y="2279"/>
                      </a:moveTo>
                      <a:cubicBezTo>
                        <a:pt x="0" y="2279"/>
                        <a:pt x="0" y="2279"/>
                        <a:pt x="0" y="2279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104" y="1"/>
                        <a:pt x="2104" y="1"/>
                        <a:pt x="2104" y="1"/>
                      </a:cubicBezTo>
                      <a:lnTo>
                        <a:pt x="2104" y="2279"/>
                      </a:lnTo>
                      <a:close/>
                      <a:moveTo>
                        <a:pt x="93" y="2186"/>
                      </a:moveTo>
                      <a:cubicBezTo>
                        <a:pt x="2011" y="2186"/>
                        <a:pt x="2011" y="2186"/>
                        <a:pt x="2011" y="2186"/>
                      </a:cubicBezTo>
                      <a:cubicBezTo>
                        <a:pt x="2011" y="94"/>
                        <a:pt x="2011" y="94"/>
                        <a:pt x="2011" y="94"/>
                      </a:cubicBezTo>
                      <a:cubicBezTo>
                        <a:pt x="93" y="94"/>
                        <a:pt x="93" y="94"/>
                        <a:pt x="93" y="94"/>
                      </a:cubicBezTo>
                      <a:lnTo>
                        <a:pt x="93" y="218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63" name="Textfeld 362"/>
                <p:cNvSpPr txBox="1">
                  <a:spLocks/>
                </p:cNvSpPr>
                <p:nvPr/>
              </p:nvSpPr>
              <p:spPr bwMode="gray">
                <a:xfrm>
                  <a:off x="11199027" y="5120714"/>
                  <a:ext cx="115416" cy="39395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</p:txBody>
            </p:sp>
            <p:grpSp>
              <p:nvGrpSpPr>
                <p:cNvPr id="364" name="Gruppieren 456"/>
                <p:cNvGrpSpPr/>
                <p:nvPr>
                  <p:custDataLst>
                    <p:tags r:id="rId4"/>
                  </p:custDataLst>
                </p:nvPr>
              </p:nvGrpSpPr>
              <p:grpSpPr bwMode="gray">
                <a:xfrm>
                  <a:off x="11040965" y="4820957"/>
                  <a:ext cx="436223" cy="220762"/>
                  <a:chOff x="9040311" y="4786123"/>
                  <a:chExt cx="430384" cy="229870"/>
                </a:xfrm>
              </p:grpSpPr>
              <p:sp>
                <p:nvSpPr>
                  <p:cNvPr id="658" name="Freeform 673"/>
                  <p:cNvSpPr>
                    <a:spLocks noEditPoints="1"/>
                  </p:cNvSpPr>
                  <p:nvPr/>
                </p:nvSpPr>
                <p:spPr bwMode="gray">
                  <a:xfrm>
                    <a:off x="9040311" y="4786124"/>
                    <a:ext cx="179276" cy="229869"/>
                  </a:xfrm>
                  <a:custGeom>
                    <a:avLst/>
                    <a:gdLst>
                      <a:gd name="T0" fmla="*/ 67 w 422"/>
                      <a:gd name="T1" fmla="*/ 221 h 557"/>
                      <a:gd name="T2" fmla="*/ 67 w 422"/>
                      <a:gd name="T3" fmla="*/ 143 h 557"/>
                      <a:gd name="T4" fmla="*/ 210 w 422"/>
                      <a:gd name="T5" fmla="*/ 0 h 557"/>
                      <a:gd name="T6" fmla="*/ 212 w 422"/>
                      <a:gd name="T7" fmla="*/ 0 h 557"/>
                      <a:gd name="T8" fmla="*/ 355 w 422"/>
                      <a:gd name="T9" fmla="*/ 143 h 557"/>
                      <a:gd name="T10" fmla="*/ 355 w 422"/>
                      <a:gd name="T11" fmla="*/ 221 h 557"/>
                      <a:gd name="T12" fmla="*/ 307 w 422"/>
                      <a:gd name="T13" fmla="*/ 221 h 557"/>
                      <a:gd name="T14" fmla="*/ 307 w 422"/>
                      <a:gd name="T15" fmla="*/ 149 h 557"/>
                      <a:gd name="T16" fmla="*/ 212 w 422"/>
                      <a:gd name="T17" fmla="*/ 48 h 557"/>
                      <a:gd name="T18" fmla="*/ 210 w 422"/>
                      <a:gd name="T19" fmla="*/ 48 h 557"/>
                      <a:gd name="T20" fmla="*/ 115 w 422"/>
                      <a:gd name="T21" fmla="*/ 149 h 557"/>
                      <a:gd name="T22" fmla="*/ 115 w 422"/>
                      <a:gd name="T23" fmla="*/ 221 h 557"/>
                      <a:gd name="T24" fmla="*/ 67 w 422"/>
                      <a:gd name="T25" fmla="*/ 221 h 557"/>
                      <a:gd name="T26" fmla="*/ 422 w 422"/>
                      <a:gd name="T27" fmla="*/ 557 h 557"/>
                      <a:gd name="T28" fmla="*/ 0 w 422"/>
                      <a:gd name="T29" fmla="*/ 557 h 557"/>
                      <a:gd name="T30" fmla="*/ 0 w 422"/>
                      <a:gd name="T31" fmla="*/ 231 h 557"/>
                      <a:gd name="T32" fmla="*/ 422 w 422"/>
                      <a:gd name="T33" fmla="*/ 231 h 557"/>
                      <a:gd name="T34" fmla="*/ 422 w 422"/>
                      <a:gd name="T35" fmla="*/ 557 h 557"/>
                      <a:gd name="T36" fmla="*/ 321 w 422"/>
                      <a:gd name="T37" fmla="*/ 394 h 557"/>
                      <a:gd name="T38" fmla="*/ 211 w 422"/>
                      <a:gd name="T39" fmla="*/ 283 h 557"/>
                      <a:gd name="T40" fmla="*/ 101 w 422"/>
                      <a:gd name="T41" fmla="*/ 394 h 557"/>
                      <a:gd name="T42" fmla="*/ 211 w 422"/>
                      <a:gd name="T43" fmla="*/ 504 h 557"/>
                      <a:gd name="T44" fmla="*/ 321 w 422"/>
                      <a:gd name="T45" fmla="*/ 394 h 557"/>
                      <a:gd name="T46" fmla="*/ 312 w 422"/>
                      <a:gd name="T47" fmla="*/ 394 h 557"/>
                      <a:gd name="T48" fmla="*/ 211 w 422"/>
                      <a:gd name="T49" fmla="*/ 495 h 557"/>
                      <a:gd name="T50" fmla="*/ 110 w 422"/>
                      <a:gd name="T51" fmla="*/ 394 h 557"/>
                      <a:gd name="T52" fmla="*/ 211 w 422"/>
                      <a:gd name="T53" fmla="*/ 293 h 557"/>
                      <a:gd name="T54" fmla="*/ 312 w 422"/>
                      <a:gd name="T55" fmla="*/ 394 h 557"/>
                      <a:gd name="T56" fmla="*/ 240 w 422"/>
                      <a:gd name="T57" fmla="*/ 375 h 557"/>
                      <a:gd name="T58" fmla="*/ 211 w 422"/>
                      <a:gd name="T59" fmla="*/ 346 h 557"/>
                      <a:gd name="T60" fmla="*/ 182 w 422"/>
                      <a:gd name="T61" fmla="*/ 375 h 557"/>
                      <a:gd name="T62" fmla="*/ 197 w 422"/>
                      <a:gd name="T63" fmla="*/ 400 h 557"/>
                      <a:gd name="T64" fmla="*/ 197 w 422"/>
                      <a:gd name="T65" fmla="*/ 442 h 557"/>
                      <a:gd name="T66" fmla="*/ 225 w 422"/>
                      <a:gd name="T67" fmla="*/ 442 h 557"/>
                      <a:gd name="T68" fmla="*/ 225 w 422"/>
                      <a:gd name="T69" fmla="*/ 400 h 557"/>
                      <a:gd name="T70" fmla="*/ 240 w 422"/>
                      <a:gd name="T71" fmla="*/ 375 h 5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422" h="557">
                        <a:moveTo>
                          <a:pt x="67" y="221"/>
                        </a:moveTo>
                        <a:cubicBezTo>
                          <a:pt x="67" y="143"/>
                          <a:pt x="67" y="143"/>
                          <a:pt x="67" y="143"/>
                        </a:cubicBezTo>
                        <a:cubicBezTo>
                          <a:pt x="67" y="64"/>
                          <a:pt x="131" y="0"/>
                          <a:pt x="210" y="0"/>
                        </a:cubicBezTo>
                        <a:cubicBezTo>
                          <a:pt x="212" y="0"/>
                          <a:pt x="212" y="0"/>
                          <a:pt x="212" y="0"/>
                        </a:cubicBezTo>
                        <a:cubicBezTo>
                          <a:pt x="291" y="0"/>
                          <a:pt x="355" y="64"/>
                          <a:pt x="355" y="143"/>
                        </a:cubicBezTo>
                        <a:cubicBezTo>
                          <a:pt x="355" y="221"/>
                          <a:pt x="355" y="221"/>
                          <a:pt x="355" y="221"/>
                        </a:cubicBezTo>
                        <a:cubicBezTo>
                          <a:pt x="307" y="221"/>
                          <a:pt x="307" y="221"/>
                          <a:pt x="307" y="221"/>
                        </a:cubicBezTo>
                        <a:cubicBezTo>
                          <a:pt x="307" y="149"/>
                          <a:pt x="307" y="149"/>
                          <a:pt x="307" y="149"/>
                        </a:cubicBezTo>
                        <a:cubicBezTo>
                          <a:pt x="307" y="93"/>
                          <a:pt x="264" y="48"/>
                          <a:pt x="212" y="48"/>
                        </a:cubicBezTo>
                        <a:cubicBezTo>
                          <a:pt x="210" y="48"/>
                          <a:pt x="210" y="48"/>
                          <a:pt x="210" y="48"/>
                        </a:cubicBezTo>
                        <a:cubicBezTo>
                          <a:pt x="158" y="48"/>
                          <a:pt x="115" y="93"/>
                          <a:pt x="115" y="149"/>
                        </a:cubicBezTo>
                        <a:cubicBezTo>
                          <a:pt x="115" y="221"/>
                          <a:pt x="115" y="221"/>
                          <a:pt x="115" y="221"/>
                        </a:cubicBezTo>
                        <a:lnTo>
                          <a:pt x="67" y="221"/>
                        </a:lnTo>
                        <a:close/>
                        <a:moveTo>
                          <a:pt x="422" y="557"/>
                        </a:moveTo>
                        <a:cubicBezTo>
                          <a:pt x="0" y="557"/>
                          <a:pt x="0" y="557"/>
                          <a:pt x="0" y="557"/>
                        </a:cubicBezTo>
                        <a:cubicBezTo>
                          <a:pt x="0" y="231"/>
                          <a:pt x="0" y="231"/>
                          <a:pt x="0" y="231"/>
                        </a:cubicBezTo>
                        <a:cubicBezTo>
                          <a:pt x="422" y="231"/>
                          <a:pt x="422" y="231"/>
                          <a:pt x="422" y="231"/>
                        </a:cubicBezTo>
                        <a:lnTo>
                          <a:pt x="422" y="557"/>
                        </a:lnTo>
                        <a:close/>
                        <a:moveTo>
                          <a:pt x="321" y="394"/>
                        </a:moveTo>
                        <a:cubicBezTo>
                          <a:pt x="321" y="333"/>
                          <a:pt x="272" y="283"/>
                          <a:pt x="211" y="283"/>
                        </a:cubicBezTo>
                        <a:cubicBezTo>
                          <a:pt x="150" y="283"/>
                          <a:pt x="101" y="333"/>
                          <a:pt x="101" y="394"/>
                        </a:cubicBezTo>
                        <a:cubicBezTo>
                          <a:pt x="101" y="455"/>
                          <a:pt x="150" y="504"/>
                          <a:pt x="211" y="504"/>
                        </a:cubicBezTo>
                        <a:cubicBezTo>
                          <a:pt x="272" y="504"/>
                          <a:pt x="321" y="455"/>
                          <a:pt x="321" y="394"/>
                        </a:cubicBezTo>
                        <a:moveTo>
                          <a:pt x="312" y="394"/>
                        </a:moveTo>
                        <a:cubicBezTo>
                          <a:pt x="312" y="450"/>
                          <a:pt x="267" y="495"/>
                          <a:pt x="211" y="495"/>
                        </a:cubicBezTo>
                        <a:cubicBezTo>
                          <a:pt x="155" y="495"/>
                          <a:pt x="110" y="450"/>
                          <a:pt x="110" y="394"/>
                        </a:cubicBezTo>
                        <a:cubicBezTo>
                          <a:pt x="110" y="338"/>
                          <a:pt x="155" y="293"/>
                          <a:pt x="211" y="293"/>
                        </a:cubicBezTo>
                        <a:cubicBezTo>
                          <a:pt x="267" y="293"/>
                          <a:pt x="312" y="338"/>
                          <a:pt x="312" y="394"/>
                        </a:cubicBezTo>
                        <a:moveTo>
                          <a:pt x="240" y="375"/>
                        </a:moveTo>
                        <a:cubicBezTo>
                          <a:pt x="240" y="359"/>
                          <a:pt x="227" y="346"/>
                          <a:pt x="211" y="346"/>
                        </a:cubicBezTo>
                        <a:cubicBezTo>
                          <a:pt x="195" y="346"/>
                          <a:pt x="182" y="359"/>
                          <a:pt x="182" y="375"/>
                        </a:cubicBezTo>
                        <a:cubicBezTo>
                          <a:pt x="182" y="385"/>
                          <a:pt x="188" y="395"/>
                          <a:pt x="197" y="400"/>
                        </a:cubicBezTo>
                        <a:cubicBezTo>
                          <a:pt x="197" y="442"/>
                          <a:pt x="197" y="442"/>
                          <a:pt x="197" y="442"/>
                        </a:cubicBezTo>
                        <a:cubicBezTo>
                          <a:pt x="225" y="442"/>
                          <a:pt x="225" y="442"/>
                          <a:pt x="225" y="442"/>
                        </a:cubicBezTo>
                        <a:cubicBezTo>
                          <a:pt x="225" y="400"/>
                          <a:pt x="225" y="400"/>
                          <a:pt x="225" y="400"/>
                        </a:cubicBezTo>
                        <a:cubicBezTo>
                          <a:pt x="234" y="395"/>
                          <a:pt x="240" y="385"/>
                          <a:pt x="240" y="375"/>
                        </a:cubicBezTo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100" dirty="0"/>
                  </a:p>
                </p:txBody>
              </p:sp>
              <p:sp>
                <p:nvSpPr>
                  <p:cNvPr id="659" name="Freeform 673"/>
                  <p:cNvSpPr>
                    <a:spLocks noEditPoints="1"/>
                  </p:cNvSpPr>
                  <p:nvPr/>
                </p:nvSpPr>
                <p:spPr bwMode="gray">
                  <a:xfrm>
                    <a:off x="9291419" y="4786123"/>
                    <a:ext cx="179276" cy="229869"/>
                  </a:xfrm>
                  <a:custGeom>
                    <a:avLst/>
                    <a:gdLst>
                      <a:gd name="T0" fmla="*/ 67 w 422"/>
                      <a:gd name="T1" fmla="*/ 221 h 557"/>
                      <a:gd name="T2" fmla="*/ 67 w 422"/>
                      <a:gd name="T3" fmla="*/ 143 h 557"/>
                      <a:gd name="T4" fmla="*/ 210 w 422"/>
                      <a:gd name="T5" fmla="*/ 0 h 557"/>
                      <a:gd name="T6" fmla="*/ 212 w 422"/>
                      <a:gd name="T7" fmla="*/ 0 h 557"/>
                      <a:gd name="T8" fmla="*/ 355 w 422"/>
                      <a:gd name="T9" fmla="*/ 143 h 557"/>
                      <a:gd name="T10" fmla="*/ 355 w 422"/>
                      <a:gd name="T11" fmla="*/ 221 h 557"/>
                      <a:gd name="T12" fmla="*/ 307 w 422"/>
                      <a:gd name="T13" fmla="*/ 221 h 557"/>
                      <a:gd name="T14" fmla="*/ 307 w 422"/>
                      <a:gd name="T15" fmla="*/ 149 h 557"/>
                      <a:gd name="T16" fmla="*/ 212 w 422"/>
                      <a:gd name="T17" fmla="*/ 48 h 557"/>
                      <a:gd name="T18" fmla="*/ 210 w 422"/>
                      <a:gd name="T19" fmla="*/ 48 h 557"/>
                      <a:gd name="T20" fmla="*/ 115 w 422"/>
                      <a:gd name="T21" fmla="*/ 149 h 557"/>
                      <a:gd name="T22" fmla="*/ 115 w 422"/>
                      <a:gd name="T23" fmla="*/ 221 h 557"/>
                      <a:gd name="T24" fmla="*/ 67 w 422"/>
                      <a:gd name="T25" fmla="*/ 221 h 557"/>
                      <a:gd name="T26" fmla="*/ 422 w 422"/>
                      <a:gd name="T27" fmla="*/ 557 h 557"/>
                      <a:gd name="T28" fmla="*/ 0 w 422"/>
                      <a:gd name="T29" fmla="*/ 557 h 557"/>
                      <a:gd name="T30" fmla="*/ 0 w 422"/>
                      <a:gd name="T31" fmla="*/ 231 h 557"/>
                      <a:gd name="T32" fmla="*/ 422 w 422"/>
                      <a:gd name="T33" fmla="*/ 231 h 557"/>
                      <a:gd name="T34" fmla="*/ 422 w 422"/>
                      <a:gd name="T35" fmla="*/ 557 h 557"/>
                      <a:gd name="T36" fmla="*/ 321 w 422"/>
                      <a:gd name="T37" fmla="*/ 394 h 557"/>
                      <a:gd name="T38" fmla="*/ 211 w 422"/>
                      <a:gd name="T39" fmla="*/ 283 h 557"/>
                      <a:gd name="T40" fmla="*/ 101 w 422"/>
                      <a:gd name="T41" fmla="*/ 394 h 557"/>
                      <a:gd name="T42" fmla="*/ 211 w 422"/>
                      <a:gd name="T43" fmla="*/ 504 h 557"/>
                      <a:gd name="T44" fmla="*/ 321 w 422"/>
                      <a:gd name="T45" fmla="*/ 394 h 557"/>
                      <a:gd name="T46" fmla="*/ 312 w 422"/>
                      <a:gd name="T47" fmla="*/ 394 h 557"/>
                      <a:gd name="T48" fmla="*/ 211 w 422"/>
                      <a:gd name="T49" fmla="*/ 495 h 557"/>
                      <a:gd name="T50" fmla="*/ 110 w 422"/>
                      <a:gd name="T51" fmla="*/ 394 h 557"/>
                      <a:gd name="T52" fmla="*/ 211 w 422"/>
                      <a:gd name="T53" fmla="*/ 293 h 557"/>
                      <a:gd name="T54" fmla="*/ 312 w 422"/>
                      <a:gd name="T55" fmla="*/ 394 h 557"/>
                      <a:gd name="T56" fmla="*/ 240 w 422"/>
                      <a:gd name="T57" fmla="*/ 375 h 557"/>
                      <a:gd name="T58" fmla="*/ 211 w 422"/>
                      <a:gd name="T59" fmla="*/ 346 h 557"/>
                      <a:gd name="T60" fmla="*/ 182 w 422"/>
                      <a:gd name="T61" fmla="*/ 375 h 557"/>
                      <a:gd name="T62" fmla="*/ 197 w 422"/>
                      <a:gd name="T63" fmla="*/ 400 h 557"/>
                      <a:gd name="T64" fmla="*/ 197 w 422"/>
                      <a:gd name="T65" fmla="*/ 442 h 557"/>
                      <a:gd name="T66" fmla="*/ 225 w 422"/>
                      <a:gd name="T67" fmla="*/ 442 h 557"/>
                      <a:gd name="T68" fmla="*/ 225 w 422"/>
                      <a:gd name="T69" fmla="*/ 400 h 557"/>
                      <a:gd name="T70" fmla="*/ 240 w 422"/>
                      <a:gd name="T71" fmla="*/ 375 h 5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422" h="557">
                        <a:moveTo>
                          <a:pt x="67" y="221"/>
                        </a:moveTo>
                        <a:cubicBezTo>
                          <a:pt x="67" y="143"/>
                          <a:pt x="67" y="143"/>
                          <a:pt x="67" y="143"/>
                        </a:cubicBezTo>
                        <a:cubicBezTo>
                          <a:pt x="67" y="64"/>
                          <a:pt x="131" y="0"/>
                          <a:pt x="210" y="0"/>
                        </a:cubicBezTo>
                        <a:cubicBezTo>
                          <a:pt x="212" y="0"/>
                          <a:pt x="212" y="0"/>
                          <a:pt x="212" y="0"/>
                        </a:cubicBezTo>
                        <a:cubicBezTo>
                          <a:pt x="291" y="0"/>
                          <a:pt x="355" y="64"/>
                          <a:pt x="355" y="143"/>
                        </a:cubicBezTo>
                        <a:cubicBezTo>
                          <a:pt x="355" y="221"/>
                          <a:pt x="355" y="221"/>
                          <a:pt x="355" y="221"/>
                        </a:cubicBezTo>
                        <a:cubicBezTo>
                          <a:pt x="307" y="221"/>
                          <a:pt x="307" y="221"/>
                          <a:pt x="307" y="221"/>
                        </a:cubicBezTo>
                        <a:cubicBezTo>
                          <a:pt x="307" y="149"/>
                          <a:pt x="307" y="149"/>
                          <a:pt x="307" y="149"/>
                        </a:cubicBezTo>
                        <a:cubicBezTo>
                          <a:pt x="307" y="93"/>
                          <a:pt x="264" y="48"/>
                          <a:pt x="212" y="48"/>
                        </a:cubicBezTo>
                        <a:cubicBezTo>
                          <a:pt x="210" y="48"/>
                          <a:pt x="210" y="48"/>
                          <a:pt x="210" y="48"/>
                        </a:cubicBezTo>
                        <a:cubicBezTo>
                          <a:pt x="158" y="48"/>
                          <a:pt x="115" y="93"/>
                          <a:pt x="115" y="149"/>
                        </a:cubicBezTo>
                        <a:cubicBezTo>
                          <a:pt x="115" y="221"/>
                          <a:pt x="115" y="221"/>
                          <a:pt x="115" y="221"/>
                        </a:cubicBezTo>
                        <a:lnTo>
                          <a:pt x="67" y="221"/>
                        </a:lnTo>
                        <a:close/>
                        <a:moveTo>
                          <a:pt x="422" y="557"/>
                        </a:moveTo>
                        <a:cubicBezTo>
                          <a:pt x="0" y="557"/>
                          <a:pt x="0" y="557"/>
                          <a:pt x="0" y="557"/>
                        </a:cubicBezTo>
                        <a:cubicBezTo>
                          <a:pt x="0" y="231"/>
                          <a:pt x="0" y="231"/>
                          <a:pt x="0" y="231"/>
                        </a:cubicBezTo>
                        <a:cubicBezTo>
                          <a:pt x="422" y="231"/>
                          <a:pt x="422" y="231"/>
                          <a:pt x="422" y="231"/>
                        </a:cubicBezTo>
                        <a:lnTo>
                          <a:pt x="422" y="557"/>
                        </a:lnTo>
                        <a:close/>
                        <a:moveTo>
                          <a:pt x="321" y="394"/>
                        </a:moveTo>
                        <a:cubicBezTo>
                          <a:pt x="321" y="333"/>
                          <a:pt x="272" y="283"/>
                          <a:pt x="211" y="283"/>
                        </a:cubicBezTo>
                        <a:cubicBezTo>
                          <a:pt x="150" y="283"/>
                          <a:pt x="101" y="333"/>
                          <a:pt x="101" y="394"/>
                        </a:cubicBezTo>
                        <a:cubicBezTo>
                          <a:pt x="101" y="455"/>
                          <a:pt x="150" y="504"/>
                          <a:pt x="211" y="504"/>
                        </a:cubicBezTo>
                        <a:cubicBezTo>
                          <a:pt x="272" y="504"/>
                          <a:pt x="321" y="455"/>
                          <a:pt x="321" y="394"/>
                        </a:cubicBezTo>
                        <a:moveTo>
                          <a:pt x="312" y="394"/>
                        </a:moveTo>
                        <a:cubicBezTo>
                          <a:pt x="312" y="450"/>
                          <a:pt x="267" y="495"/>
                          <a:pt x="211" y="495"/>
                        </a:cubicBezTo>
                        <a:cubicBezTo>
                          <a:pt x="155" y="495"/>
                          <a:pt x="110" y="450"/>
                          <a:pt x="110" y="394"/>
                        </a:cubicBezTo>
                        <a:cubicBezTo>
                          <a:pt x="110" y="338"/>
                          <a:pt x="155" y="293"/>
                          <a:pt x="211" y="293"/>
                        </a:cubicBezTo>
                        <a:cubicBezTo>
                          <a:pt x="267" y="293"/>
                          <a:pt x="312" y="338"/>
                          <a:pt x="312" y="394"/>
                        </a:cubicBezTo>
                        <a:moveTo>
                          <a:pt x="240" y="375"/>
                        </a:moveTo>
                        <a:cubicBezTo>
                          <a:pt x="240" y="359"/>
                          <a:pt x="227" y="346"/>
                          <a:pt x="211" y="346"/>
                        </a:cubicBezTo>
                        <a:cubicBezTo>
                          <a:pt x="195" y="346"/>
                          <a:pt x="182" y="359"/>
                          <a:pt x="182" y="375"/>
                        </a:cubicBezTo>
                        <a:cubicBezTo>
                          <a:pt x="182" y="385"/>
                          <a:pt x="188" y="395"/>
                          <a:pt x="197" y="400"/>
                        </a:cubicBezTo>
                        <a:cubicBezTo>
                          <a:pt x="197" y="442"/>
                          <a:pt x="197" y="442"/>
                          <a:pt x="197" y="442"/>
                        </a:cubicBezTo>
                        <a:cubicBezTo>
                          <a:pt x="225" y="442"/>
                          <a:pt x="225" y="442"/>
                          <a:pt x="225" y="442"/>
                        </a:cubicBezTo>
                        <a:cubicBezTo>
                          <a:pt x="225" y="400"/>
                          <a:pt x="225" y="400"/>
                          <a:pt x="225" y="400"/>
                        </a:cubicBezTo>
                        <a:cubicBezTo>
                          <a:pt x="234" y="395"/>
                          <a:pt x="240" y="385"/>
                          <a:pt x="240" y="375"/>
                        </a:cubicBezTo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100" dirty="0"/>
                  </a:p>
                </p:txBody>
              </p:sp>
            </p:grpSp>
            <p:sp>
              <p:nvSpPr>
                <p:cNvPr id="365" name="Freeform 81"/>
                <p:cNvSpPr>
                  <a:spLocks noChangeAspect="1" noEditPoints="1"/>
                </p:cNvSpPr>
                <p:nvPr/>
              </p:nvSpPr>
              <p:spPr bwMode="gray">
                <a:xfrm>
                  <a:off x="11060897" y="5600090"/>
                  <a:ext cx="428971" cy="370983"/>
                </a:xfrm>
                <a:custGeom>
                  <a:avLst/>
                  <a:gdLst>
                    <a:gd name="T0" fmla="*/ 586 w 586"/>
                    <a:gd name="T1" fmla="*/ 46 h 535"/>
                    <a:gd name="T2" fmla="*/ 586 w 586"/>
                    <a:gd name="T3" fmla="*/ 86 h 535"/>
                    <a:gd name="T4" fmla="*/ 442 w 586"/>
                    <a:gd name="T5" fmla="*/ 86 h 535"/>
                    <a:gd name="T6" fmla="*/ 405 w 586"/>
                    <a:gd name="T7" fmla="*/ 102 h 535"/>
                    <a:gd name="T8" fmla="*/ 183 w 586"/>
                    <a:gd name="T9" fmla="*/ 324 h 535"/>
                    <a:gd name="T10" fmla="*/ 146 w 586"/>
                    <a:gd name="T11" fmla="*/ 339 h 535"/>
                    <a:gd name="T12" fmla="*/ 0 w 586"/>
                    <a:gd name="T13" fmla="*/ 339 h 535"/>
                    <a:gd name="T14" fmla="*/ 0 w 586"/>
                    <a:gd name="T15" fmla="*/ 299 h 535"/>
                    <a:gd name="T16" fmla="*/ 125 w 586"/>
                    <a:gd name="T17" fmla="*/ 299 h 535"/>
                    <a:gd name="T18" fmla="*/ 163 w 586"/>
                    <a:gd name="T19" fmla="*/ 284 h 535"/>
                    <a:gd name="T20" fmla="*/ 384 w 586"/>
                    <a:gd name="T21" fmla="*/ 62 h 535"/>
                    <a:gd name="T22" fmla="*/ 422 w 586"/>
                    <a:gd name="T23" fmla="*/ 46 h 535"/>
                    <a:gd name="T24" fmla="*/ 586 w 586"/>
                    <a:gd name="T25" fmla="*/ 46 h 535"/>
                    <a:gd name="T26" fmla="*/ 586 w 586"/>
                    <a:gd name="T27" fmla="*/ 282 h 535"/>
                    <a:gd name="T28" fmla="*/ 586 w 586"/>
                    <a:gd name="T29" fmla="*/ 95 h 535"/>
                    <a:gd name="T30" fmla="*/ 446 w 586"/>
                    <a:gd name="T31" fmla="*/ 95 h 535"/>
                    <a:gd name="T32" fmla="*/ 408 w 586"/>
                    <a:gd name="T33" fmla="*/ 111 h 535"/>
                    <a:gd name="T34" fmla="*/ 187 w 586"/>
                    <a:gd name="T35" fmla="*/ 333 h 535"/>
                    <a:gd name="T36" fmla="*/ 149 w 586"/>
                    <a:gd name="T37" fmla="*/ 349 h 535"/>
                    <a:gd name="T38" fmla="*/ 0 w 586"/>
                    <a:gd name="T39" fmla="*/ 349 h 535"/>
                    <a:gd name="T40" fmla="*/ 0 w 586"/>
                    <a:gd name="T41" fmla="*/ 535 h 535"/>
                    <a:gd name="T42" fmla="*/ 210 w 586"/>
                    <a:gd name="T43" fmla="*/ 535 h 535"/>
                    <a:gd name="T44" fmla="*/ 210 w 586"/>
                    <a:gd name="T45" fmla="*/ 534 h 535"/>
                    <a:gd name="T46" fmla="*/ 447 w 586"/>
                    <a:gd name="T47" fmla="*/ 298 h 535"/>
                    <a:gd name="T48" fmla="*/ 485 w 586"/>
                    <a:gd name="T49" fmla="*/ 282 h 535"/>
                    <a:gd name="T50" fmla="*/ 586 w 586"/>
                    <a:gd name="T51" fmla="*/ 282 h 535"/>
                    <a:gd name="T52" fmla="*/ 182 w 586"/>
                    <a:gd name="T53" fmla="*/ 194 h 535"/>
                    <a:gd name="T54" fmla="*/ 191 w 586"/>
                    <a:gd name="T55" fmla="*/ 188 h 535"/>
                    <a:gd name="T56" fmla="*/ 191 w 586"/>
                    <a:gd name="T57" fmla="*/ 188 h 535"/>
                    <a:gd name="T58" fmla="*/ 208 w 586"/>
                    <a:gd name="T59" fmla="*/ 107 h 535"/>
                    <a:gd name="T60" fmla="*/ 208 w 586"/>
                    <a:gd name="T61" fmla="*/ 225 h 535"/>
                    <a:gd name="T62" fmla="*/ 277 w 586"/>
                    <a:gd name="T63" fmla="*/ 156 h 535"/>
                    <a:gd name="T64" fmla="*/ 277 w 586"/>
                    <a:gd name="T65" fmla="*/ 107 h 535"/>
                    <a:gd name="T66" fmla="*/ 285 w 586"/>
                    <a:gd name="T67" fmla="*/ 148 h 535"/>
                    <a:gd name="T68" fmla="*/ 302 w 586"/>
                    <a:gd name="T69" fmla="*/ 131 h 535"/>
                    <a:gd name="T70" fmla="*/ 294 w 586"/>
                    <a:gd name="T71" fmla="*/ 77 h 535"/>
                    <a:gd name="T72" fmla="*/ 294 w 586"/>
                    <a:gd name="T73" fmla="*/ 77 h 535"/>
                    <a:gd name="T74" fmla="*/ 277 w 586"/>
                    <a:gd name="T75" fmla="*/ 63 h 535"/>
                    <a:gd name="T76" fmla="*/ 208 w 586"/>
                    <a:gd name="T77" fmla="*/ 63 h 535"/>
                    <a:gd name="T78" fmla="*/ 191 w 586"/>
                    <a:gd name="T79" fmla="*/ 77 h 535"/>
                    <a:gd name="T80" fmla="*/ 191 w 586"/>
                    <a:gd name="T81" fmla="*/ 77 h 535"/>
                    <a:gd name="T82" fmla="*/ 174 w 586"/>
                    <a:gd name="T83" fmla="*/ 185 h 535"/>
                    <a:gd name="T84" fmla="*/ 174 w 586"/>
                    <a:gd name="T85" fmla="*/ 186 h 535"/>
                    <a:gd name="T86" fmla="*/ 182 w 586"/>
                    <a:gd name="T87" fmla="*/ 194 h 535"/>
                    <a:gd name="T88" fmla="*/ 242 w 586"/>
                    <a:gd name="T89" fmla="*/ 57 h 535"/>
                    <a:gd name="T90" fmla="*/ 271 w 586"/>
                    <a:gd name="T91" fmla="*/ 29 h 535"/>
                    <a:gd name="T92" fmla="*/ 242 w 586"/>
                    <a:gd name="T93" fmla="*/ 0 h 535"/>
                    <a:gd name="T94" fmla="*/ 214 w 586"/>
                    <a:gd name="T95" fmla="*/ 29 h 535"/>
                    <a:gd name="T96" fmla="*/ 242 w 586"/>
                    <a:gd name="T97" fmla="*/ 57 h 5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586" h="535">
                      <a:moveTo>
                        <a:pt x="586" y="46"/>
                      </a:moveTo>
                      <a:cubicBezTo>
                        <a:pt x="586" y="86"/>
                        <a:pt x="586" y="86"/>
                        <a:pt x="586" y="86"/>
                      </a:cubicBezTo>
                      <a:cubicBezTo>
                        <a:pt x="442" y="86"/>
                        <a:pt x="442" y="86"/>
                        <a:pt x="442" y="86"/>
                      </a:cubicBezTo>
                      <a:cubicBezTo>
                        <a:pt x="428" y="86"/>
                        <a:pt x="415" y="92"/>
                        <a:pt x="405" y="102"/>
                      </a:cubicBezTo>
                      <a:cubicBezTo>
                        <a:pt x="183" y="324"/>
                        <a:pt x="183" y="324"/>
                        <a:pt x="183" y="324"/>
                      </a:cubicBezTo>
                      <a:cubicBezTo>
                        <a:pt x="173" y="334"/>
                        <a:pt x="160" y="339"/>
                        <a:pt x="146" y="339"/>
                      </a:cubicBezTo>
                      <a:cubicBezTo>
                        <a:pt x="0" y="339"/>
                        <a:pt x="0" y="339"/>
                        <a:pt x="0" y="339"/>
                      </a:cubicBezTo>
                      <a:cubicBezTo>
                        <a:pt x="0" y="299"/>
                        <a:pt x="0" y="299"/>
                        <a:pt x="0" y="299"/>
                      </a:cubicBezTo>
                      <a:cubicBezTo>
                        <a:pt x="125" y="299"/>
                        <a:pt x="125" y="299"/>
                        <a:pt x="125" y="299"/>
                      </a:cubicBezTo>
                      <a:cubicBezTo>
                        <a:pt x="139" y="299"/>
                        <a:pt x="153" y="294"/>
                        <a:pt x="163" y="284"/>
                      </a:cubicBezTo>
                      <a:cubicBezTo>
                        <a:pt x="384" y="62"/>
                        <a:pt x="384" y="62"/>
                        <a:pt x="384" y="62"/>
                      </a:cubicBezTo>
                      <a:cubicBezTo>
                        <a:pt x="394" y="52"/>
                        <a:pt x="408" y="46"/>
                        <a:pt x="422" y="46"/>
                      </a:cubicBezTo>
                      <a:lnTo>
                        <a:pt x="586" y="46"/>
                      </a:lnTo>
                      <a:close/>
                      <a:moveTo>
                        <a:pt x="586" y="282"/>
                      </a:moveTo>
                      <a:cubicBezTo>
                        <a:pt x="586" y="95"/>
                        <a:pt x="586" y="95"/>
                        <a:pt x="586" y="95"/>
                      </a:cubicBezTo>
                      <a:cubicBezTo>
                        <a:pt x="446" y="95"/>
                        <a:pt x="446" y="95"/>
                        <a:pt x="446" y="95"/>
                      </a:cubicBezTo>
                      <a:cubicBezTo>
                        <a:pt x="432" y="95"/>
                        <a:pt x="418" y="101"/>
                        <a:pt x="408" y="111"/>
                      </a:cubicBezTo>
                      <a:cubicBezTo>
                        <a:pt x="187" y="333"/>
                        <a:pt x="187" y="333"/>
                        <a:pt x="187" y="333"/>
                      </a:cubicBezTo>
                      <a:cubicBezTo>
                        <a:pt x="177" y="343"/>
                        <a:pt x="163" y="349"/>
                        <a:pt x="149" y="349"/>
                      </a:cubicBezTo>
                      <a:cubicBezTo>
                        <a:pt x="0" y="349"/>
                        <a:pt x="0" y="349"/>
                        <a:pt x="0" y="349"/>
                      </a:cubicBezTo>
                      <a:cubicBezTo>
                        <a:pt x="0" y="535"/>
                        <a:pt x="0" y="535"/>
                        <a:pt x="0" y="535"/>
                      </a:cubicBezTo>
                      <a:cubicBezTo>
                        <a:pt x="210" y="535"/>
                        <a:pt x="210" y="535"/>
                        <a:pt x="210" y="535"/>
                      </a:cubicBezTo>
                      <a:cubicBezTo>
                        <a:pt x="210" y="534"/>
                        <a:pt x="210" y="534"/>
                        <a:pt x="210" y="534"/>
                      </a:cubicBezTo>
                      <a:cubicBezTo>
                        <a:pt x="447" y="298"/>
                        <a:pt x="447" y="298"/>
                        <a:pt x="447" y="298"/>
                      </a:cubicBezTo>
                      <a:cubicBezTo>
                        <a:pt x="457" y="288"/>
                        <a:pt x="470" y="282"/>
                        <a:pt x="485" y="282"/>
                      </a:cubicBezTo>
                      <a:lnTo>
                        <a:pt x="586" y="282"/>
                      </a:lnTo>
                      <a:close/>
                      <a:moveTo>
                        <a:pt x="182" y="194"/>
                      </a:moveTo>
                      <a:cubicBezTo>
                        <a:pt x="186" y="194"/>
                        <a:pt x="190" y="192"/>
                        <a:pt x="191" y="188"/>
                      </a:cubicBezTo>
                      <a:cubicBezTo>
                        <a:pt x="191" y="188"/>
                        <a:pt x="191" y="188"/>
                        <a:pt x="191" y="188"/>
                      </a:cubicBezTo>
                      <a:cubicBezTo>
                        <a:pt x="208" y="107"/>
                        <a:pt x="208" y="107"/>
                        <a:pt x="208" y="107"/>
                      </a:cubicBezTo>
                      <a:cubicBezTo>
                        <a:pt x="208" y="225"/>
                        <a:pt x="208" y="225"/>
                        <a:pt x="208" y="225"/>
                      </a:cubicBezTo>
                      <a:cubicBezTo>
                        <a:pt x="277" y="156"/>
                        <a:pt x="277" y="156"/>
                        <a:pt x="277" y="156"/>
                      </a:cubicBezTo>
                      <a:cubicBezTo>
                        <a:pt x="277" y="107"/>
                        <a:pt x="277" y="107"/>
                        <a:pt x="277" y="107"/>
                      </a:cubicBezTo>
                      <a:cubicBezTo>
                        <a:pt x="285" y="148"/>
                        <a:pt x="285" y="148"/>
                        <a:pt x="285" y="148"/>
                      </a:cubicBezTo>
                      <a:cubicBezTo>
                        <a:pt x="302" y="131"/>
                        <a:pt x="302" y="131"/>
                        <a:pt x="302" y="131"/>
                      </a:cubicBezTo>
                      <a:cubicBezTo>
                        <a:pt x="294" y="77"/>
                        <a:pt x="294" y="77"/>
                        <a:pt x="294" y="77"/>
                      </a:cubicBezTo>
                      <a:cubicBezTo>
                        <a:pt x="294" y="77"/>
                        <a:pt x="294" y="77"/>
                        <a:pt x="294" y="77"/>
                      </a:cubicBezTo>
                      <a:cubicBezTo>
                        <a:pt x="292" y="69"/>
                        <a:pt x="285" y="63"/>
                        <a:pt x="277" y="63"/>
                      </a:cubicBezTo>
                      <a:cubicBezTo>
                        <a:pt x="208" y="63"/>
                        <a:pt x="208" y="63"/>
                        <a:pt x="208" y="63"/>
                      </a:cubicBezTo>
                      <a:cubicBezTo>
                        <a:pt x="200" y="63"/>
                        <a:pt x="193" y="69"/>
                        <a:pt x="191" y="77"/>
                      </a:cubicBezTo>
                      <a:cubicBezTo>
                        <a:pt x="191" y="77"/>
                        <a:pt x="191" y="77"/>
                        <a:pt x="191" y="77"/>
                      </a:cubicBezTo>
                      <a:cubicBezTo>
                        <a:pt x="174" y="185"/>
                        <a:pt x="174" y="185"/>
                        <a:pt x="174" y="185"/>
                      </a:cubicBezTo>
                      <a:cubicBezTo>
                        <a:pt x="174" y="185"/>
                        <a:pt x="174" y="185"/>
                        <a:pt x="174" y="186"/>
                      </a:cubicBezTo>
                      <a:cubicBezTo>
                        <a:pt x="174" y="191"/>
                        <a:pt x="178" y="194"/>
                        <a:pt x="182" y="194"/>
                      </a:cubicBezTo>
                      <a:close/>
                      <a:moveTo>
                        <a:pt x="242" y="57"/>
                      </a:moveTo>
                      <a:cubicBezTo>
                        <a:pt x="258" y="57"/>
                        <a:pt x="271" y="44"/>
                        <a:pt x="271" y="29"/>
                      </a:cubicBezTo>
                      <a:cubicBezTo>
                        <a:pt x="271" y="13"/>
                        <a:pt x="258" y="0"/>
                        <a:pt x="242" y="0"/>
                      </a:cubicBezTo>
                      <a:cubicBezTo>
                        <a:pt x="227" y="0"/>
                        <a:pt x="214" y="13"/>
                        <a:pt x="214" y="29"/>
                      </a:cubicBezTo>
                      <a:cubicBezTo>
                        <a:pt x="214" y="44"/>
                        <a:pt x="227" y="57"/>
                        <a:pt x="242" y="5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66" name="Textfeld 365"/>
                <p:cNvSpPr txBox="1">
                  <a:spLocks/>
                </p:cNvSpPr>
                <p:nvPr/>
              </p:nvSpPr>
              <p:spPr bwMode="gray">
                <a:xfrm>
                  <a:off x="5662719" y="5120714"/>
                  <a:ext cx="115416" cy="39395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1</a:t>
                  </a:r>
                </a:p>
              </p:txBody>
            </p:sp>
            <p:grpSp>
              <p:nvGrpSpPr>
                <p:cNvPr id="367" name="Gruppieren 468"/>
                <p:cNvGrpSpPr/>
                <p:nvPr>
                  <p:custDataLst>
                    <p:tags r:id="rId5"/>
                  </p:custDataLst>
                </p:nvPr>
              </p:nvGrpSpPr>
              <p:grpSpPr bwMode="gray">
                <a:xfrm>
                  <a:off x="5512959" y="4820958"/>
                  <a:ext cx="436220" cy="220761"/>
                  <a:chOff x="4264964" y="4786123"/>
                  <a:chExt cx="430382" cy="229869"/>
                </a:xfrm>
              </p:grpSpPr>
              <p:sp>
                <p:nvSpPr>
                  <p:cNvPr id="656" name="Freeform 673"/>
                  <p:cNvSpPr>
                    <a:spLocks noEditPoints="1"/>
                  </p:cNvSpPr>
                  <p:nvPr/>
                </p:nvSpPr>
                <p:spPr bwMode="gray">
                  <a:xfrm>
                    <a:off x="4264964" y="4786123"/>
                    <a:ext cx="179276" cy="229869"/>
                  </a:xfrm>
                  <a:custGeom>
                    <a:avLst/>
                    <a:gdLst>
                      <a:gd name="T0" fmla="*/ 67 w 422"/>
                      <a:gd name="T1" fmla="*/ 221 h 557"/>
                      <a:gd name="T2" fmla="*/ 67 w 422"/>
                      <a:gd name="T3" fmla="*/ 143 h 557"/>
                      <a:gd name="T4" fmla="*/ 210 w 422"/>
                      <a:gd name="T5" fmla="*/ 0 h 557"/>
                      <a:gd name="T6" fmla="*/ 212 w 422"/>
                      <a:gd name="T7" fmla="*/ 0 h 557"/>
                      <a:gd name="T8" fmla="*/ 355 w 422"/>
                      <a:gd name="T9" fmla="*/ 143 h 557"/>
                      <a:gd name="T10" fmla="*/ 355 w 422"/>
                      <a:gd name="T11" fmla="*/ 221 h 557"/>
                      <a:gd name="T12" fmla="*/ 307 w 422"/>
                      <a:gd name="T13" fmla="*/ 221 h 557"/>
                      <a:gd name="T14" fmla="*/ 307 w 422"/>
                      <a:gd name="T15" fmla="*/ 149 h 557"/>
                      <a:gd name="T16" fmla="*/ 212 w 422"/>
                      <a:gd name="T17" fmla="*/ 48 h 557"/>
                      <a:gd name="T18" fmla="*/ 210 w 422"/>
                      <a:gd name="T19" fmla="*/ 48 h 557"/>
                      <a:gd name="T20" fmla="*/ 115 w 422"/>
                      <a:gd name="T21" fmla="*/ 149 h 557"/>
                      <a:gd name="T22" fmla="*/ 115 w 422"/>
                      <a:gd name="T23" fmla="*/ 221 h 557"/>
                      <a:gd name="T24" fmla="*/ 67 w 422"/>
                      <a:gd name="T25" fmla="*/ 221 h 557"/>
                      <a:gd name="T26" fmla="*/ 422 w 422"/>
                      <a:gd name="T27" fmla="*/ 557 h 557"/>
                      <a:gd name="T28" fmla="*/ 0 w 422"/>
                      <a:gd name="T29" fmla="*/ 557 h 557"/>
                      <a:gd name="T30" fmla="*/ 0 w 422"/>
                      <a:gd name="T31" fmla="*/ 231 h 557"/>
                      <a:gd name="T32" fmla="*/ 422 w 422"/>
                      <a:gd name="T33" fmla="*/ 231 h 557"/>
                      <a:gd name="T34" fmla="*/ 422 w 422"/>
                      <a:gd name="T35" fmla="*/ 557 h 557"/>
                      <a:gd name="T36" fmla="*/ 321 w 422"/>
                      <a:gd name="T37" fmla="*/ 394 h 557"/>
                      <a:gd name="T38" fmla="*/ 211 w 422"/>
                      <a:gd name="T39" fmla="*/ 283 h 557"/>
                      <a:gd name="T40" fmla="*/ 101 w 422"/>
                      <a:gd name="T41" fmla="*/ 394 h 557"/>
                      <a:gd name="T42" fmla="*/ 211 w 422"/>
                      <a:gd name="T43" fmla="*/ 504 h 557"/>
                      <a:gd name="T44" fmla="*/ 321 w 422"/>
                      <a:gd name="T45" fmla="*/ 394 h 557"/>
                      <a:gd name="T46" fmla="*/ 312 w 422"/>
                      <a:gd name="T47" fmla="*/ 394 h 557"/>
                      <a:gd name="T48" fmla="*/ 211 w 422"/>
                      <a:gd name="T49" fmla="*/ 495 h 557"/>
                      <a:gd name="T50" fmla="*/ 110 w 422"/>
                      <a:gd name="T51" fmla="*/ 394 h 557"/>
                      <a:gd name="T52" fmla="*/ 211 w 422"/>
                      <a:gd name="T53" fmla="*/ 293 h 557"/>
                      <a:gd name="T54" fmla="*/ 312 w 422"/>
                      <a:gd name="T55" fmla="*/ 394 h 557"/>
                      <a:gd name="T56" fmla="*/ 240 w 422"/>
                      <a:gd name="T57" fmla="*/ 375 h 557"/>
                      <a:gd name="T58" fmla="*/ 211 w 422"/>
                      <a:gd name="T59" fmla="*/ 346 h 557"/>
                      <a:gd name="T60" fmla="*/ 182 w 422"/>
                      <a:gd name="T61" fmla="*/ 375 h 557"/>
                      <a:gd name="T62" fmla="*/ 197 w 422"/>
                      <a:gd name="T63" fmla="*/ 400 h 557"/>
                      <a:gd name="T64" fmla="*/ 197 w 422"/>
                      <a:gd name="T65" fmla="*/ 442 h 557"/>
                      <a:gd name="T66" fmla="*/ 225 w 422"/>
                      <a:gd name="T67" fmla="*/ 442 h 557"/>
                      <a:gd name="T68" fmla="*/ 225 w 422"/>
                      <a:gd name="T69" fmla="*/ 400 h 557"/>
                      <a:gd name="T70" fmla="*/ 240 w 422"/>
                      <a:gd name="T71" fmla="*/ 375 h 5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422" h="557">
                        <a:moveTo>
                          <a:pt x="67" y="221"/>
                        </a:moveTo>
                        <a:cubicBezTo>
                          <a:pt x="67" y="143"/>
                          <a:pt x="67" y="143"/>
                          <a:pt x="67" y="143"/>
                        </a:cubicBezTo>
                        <a:cubicBezTo>
                          <a:pt x="67" y="64"/>
                          <a:pt x="131" y="0"/>
                          <a:pt x="210" y="0"/>
                        </a:cubicBezTo>
                        <a:cubicBezTo>
                          <a:pt x="212" y="0"/>
                          <a:pt x="212" y="0"/>
                          <a:pt x="212" y="0"/>
                        </a:cubicBezTo>
                        <a:cubicBezTo>
                          <a:pt x="291" y="0"/>
                          <a:pt x="355" y="64"/>
                          <a:pt x="355" y="143"/>
                        </a:cubicBezTo>
                        <a:cubicBezTo>
                          <a:pt x="355" y="221"/>
                          <a:pt x="355" y="221"/>
                          <a:pt x="355" y="221"/>
                        </a:cubicBezTo>
                        <a:cubicBezTo>
                          <a:pt x="307" y="221"/>
                          <a:pt x="307" y="221"/>
                          <a:pt x="307" y="221"/>
                        </a:cubicBezTo>
                        <a:cubicBezTo>
                          <a:pt x="307" y="149"/>
                          <a:pt x="307" y="149"/>
                          <a:pt x="307" y="149"/>
                        </a:cubicBezTo>
                        <a:cubicBezTo>
                          <a:pt x="307" y="93"/>
                          <a:pt x="264" y="48"/>
                          <a:pt x="212" y="48"/>
                        </a:cubicBezTo>
                        <a:cubicBezTo>
                          <a:pt x="210" y="48"/>
                          <a:pt x="210" y="48"/>
                          <a:pt x="210" y="48"/>
                        </a:cubicBezTo>
                        <a:cubicBezTo>
                          <a:pt x="158" y="48"/>
                          <a:pt x="115" y="93"/>
                          <a:pt x="115" y="149"/>
                        </a:cubicBezTo>
                        <a:cubicBezTo>
                          <a:pt x="115" y="221"/>
                          <a:pt x="115" y="221"/>
                          <a:pt x="115" y="221"/>
                        </a:cubicBezTo>
                        <a:lnTo>
                          <a:pt x="67" y="221"/>
                        </a:lnTo>
                        <a:close/>
                        <a:moveTo>
                          <a:pt x="422" y="557"/>
                        </a:moveTo>
                        <a:cubicBezTo>
                          <a:pt x="0" y="557"/>
                          <a:pt x="0" y="557"/>
                          <a:pt x="0" y="557"/>
                        </a:cubicBezTo>
                        <a:cubicBezTo>
                          <a:pt x="0" y="231"/>
                          <a:pt x="0" y="231"/>
                          <a:pt x="0" y="231"/>
                        </a:cubicBezTo>
                        <a:cubicBezTo>
                          <a:pt x="422" y="231"/>
                          <a:pt x="422" y="231"/>
                          <a:pt x="422" y="231"/>
                        </a:cubicBezTo>
                        <a:lnTo>
                          <a:pt x="422" y="557"/>
                        </a:lnTo>
                        <a:close/>
                        <a:moveTo>
                          <a:pt x="321" y="394"/>
                        </a:moveTo>
                        <a:cubicBezTo>
                          <a:pt x="321" y="333"/>
                          <a:pt x="272" y="283"/>
                          <a:pt x="211" y="283"/>
                        </a:cubicBezTo>
                        <a:cubicBezTo>
                          <a:pt x="150" y="283"/>
                          <a:pt x="101" y="333"/>
                          <a:pt x="101" y="394"/>
                        </a:cubicBezTo>
                        <a:cubicBezTo>
                          <a:pt x="101" y="455"/>
                          <a:pt x="150" y="504"/>
                          <a:pt x="211" y="504"/>
                        </a:cubicBezTo>
                        <a:cubicBezTo>
                          <a:pt x="272" y="504"/>
                          <a:pt x="321" y="455"/>
                          <a:pt x="321" y="394"/>
                        </a:cubicBezTo>
                        <a:moveTo>
                          <a:pt x="312" y="394"/>
                        </a:moveTo>
                        <a:cubicBezTo>
                          <a:pt x="312" y="450"/>
                          <a:pt x="267" y="495"/>
                          <a:pt x="211" y="495"/>
                        </a:cubicBezTo>
                        <a:cubicBezTo>
                          <a:pt x="155" y="495"/>
                          <a:pt x="110" y="450"/>
                          <a:pt x="110" y="394"/>
                        </a:cubicBezTo>
                        <a:cubicBezTo>
                          <a:pt x="110" y="338"/>
                          <a:pt x="155" y="293"/>
                          <a:pt x="211" y="293"/>
                        </a:cubicBezTo>
                        <a:cubicBezTo>
                          <a:pt x="267" y="293"/>
                          <a:pt x="312" y="338"/>
                          <a:pt x="312" y="394"/>
                        </a:cubicBezTo>
                        <a:moveTo>
                          <a:pt x="240" y="375"/>
                        </a:moveTo>
                        <a:cubicBezTo>
                          <a:pt x="240" y="359"/>
                          <a:pt x="227" y="346"/>
                          <a:pt x="211" y="346"/>
                        </a:cubicBezTo>
                        <a:cubicBezTo>
                          <a:pt x="195" y="346"/>
                          <a:pt x="182" y="359"/>
                          <a:pt x="182" y="375"/>
                        </a:cubicBezTo>
                        <a:cubicBezTo>
                          <a:pt x="182" y="385"/>
                          <a:pt x="188" y="395"/>
                          <a:pt x="197" y="400"/>
                        </a:cubicBezTo>
                        <a:cubicBezTo>
                          <a:pt x="197" y="442"/>
                          <a:pt x="197" y="442"/>
                          <a:pt x="197" y="442"/>
                        </a:cubicBezTo>
                        <a:cubicBezTo>
                          <a:pt x="225" y="442"/>
                          <a:pt x="225" y="442"/>
                          <a:pt x="225" y="442"/>
                        </a:cubicBezTo>
                        <a:cubicBezTo>
                          <a:pt x="225" y="400"/>
                          <a:pt x="225" y="400"/>
                          <a:pt x="225" y="400"/>
                        </a:cubicBezTo>
                        <a:cubicBezTo>
                          <a:pt x="234" y="395"/>
                          <a:pt x="240" y="385"/>
                          <a:pt x="240" y="375"/>
                        </a:cubicBezTo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100" dirty="0"/>
                  </a:p>
                </p:txBody>
              </p:sp>
              <p:sp>
                <p:nvSpPr>
                  <p:cNvPr id="657" name="Freeform 673"/>
                  <p:cNvSpPr>
                    <a:spLocks noEditPoints="1"/>
                  </p:cNvSpPr>
                  <p:nvPr/>
                </p:nvSpPr>
                <p:spPr bwMode="gray">
                  <a:xfrm>
                    <a:off x="4516070" y="4786123"/>
                    <a:ext cx="179276" cy="229869"/>
                  </a:xfrm>
                  <a:custGeom>
                    <a:avLst/>
                    <a:gdLst>
                      <a:gd name="T0" fmla="*/ 67 w 422"/>
                      <a:gd name="T1" fmla="*/ 221 h 557"/>
                      <a:gd name="T2" fmla="*/ 67 w 422"/>
                      <a:gd name="T3" fmla="*/ 143 h 557"/>
                      <a:gd name="T4" fmla="*/ 210 w 422"/>
                      <a:gd name="T5" fmla="*/ 0 h 557"/>
                      <a:gd name="T6" fmla="*/ 212 w 422"/>
                      <a:gd name="T7" fmla="*/ 0 h 557"/>
                      <a:gd name="T8" fmla="*/ 355 w 422"/>
                      <a:gd name="T9" fmla="*/ 143 h 557"/>
                      <a:gd name="T10" fmla="*/ 355 w 422"/>
                      <a:gd name="T11" fmla="*/ 221 h 557"/>
                      <a:gd name="T12" fmla="*/ 307 w 422"/>
                      <a:gd name="T13" fmla="*/ 221 h 557"/>
                      <a:gd name="T14" fmla="*/ 307 w 422"/>
                      <a:gd name="T15" fmla="*/ 149 h 557"/>
                      <a:gd name="T16" fmla="*/ 212 w 422"/>
                      <a:gd name="T17" fmla="*/ 48 h 557"/>
                      <a:gd name="T18" fmla="*/ 210 w 422"/>
                      <a:gd name="T19" fmla="*/ 48 h 557"/>
                      <a:gd name="T20" fmla="*/ 115 w 422"/>
                      <a:gd name="T21" fmla="*/ 149 h 557"/>
                      <a:gd name="T22" fmla="*/ 115 w 422"/>
                      <a:gd name="T23" fmla="*/ 221 h 557"/>
                      <a:gd name="T24" fmla="*/ 67 w 422"/>
                      <a:gd name="T25" fmla="*/ 221 h 557"/>
                      <a:gd name="T26" fmla="*/ 422 w 422"/>
                      <a:gd name="T27" fmla="*/ 557 h 557"/>
                      <a:gd name="T28" fmla="*/ 0 w 422"/>
                      <a:gd name="T29" fmla="*/ 557 h 557"/>
                      <a:gd name="T30" fmla="*/ 0 w 422"/>
                      <a:gd name="T31" fmla="*/ 231 h 557"/>
                      <a:gd name="T32" fmla="*/ 422 w 422"/>
                      <a:gd name="T33" fmla="*/ 231 h 557"/>
                      <a:gd name="T34" fmla="*/ 422 w 422"/>
                      <a:gd name="T35" fmla="*/ 557 h 557"/>
                      <a:gd name="T36" fmla="*/ 321 w 422"/>
                      <a:gd name="T37" fmla="*/ 394 h 557"/>
                      <a:gd name="T38" fmla="*/ 211 w 422"/>
                      <a:gd name="T39" fmla="*/ 283 h 557"/>
                      <a:gd name="T40" fmla="*/ 101 w 422"/>
                      <a:gd name="T41" fmla="*/ 394 h 557"/>
                      <a:gd name="T42" fmla="*/ 211 w 422"/>
                      <a:gd name="T43" fmla="*/ 504 h 557"/>
                      <a:gd name="T44" fmla="*/ 321 w 422"/>
                      <a:gd name="T45" fmla="*/ 394 h 557"/>
                      <a:gd name="T46" fmla="*/ 312 w 422"/>
                      <a:gd name="T47" fmla="*/ 394 h 557"/>
                      <a:gd name="T48" fmla="*/ 211 w 422"/>
                      <a:gd name="T49" fmla="*/ 495 h 557"/>
                      <a:gd name="T50" fmla="*/ 110 w 422"/>
                      <a:gd name="T51" fmla="*/ 394 h 557"/>
                      <a:gd name="T52" fmla="*/ 211 w 422"/>
                      <a:gd name="T53" fmla="*/ 293 h 557"/>
                      <a:gd name="T54" fmla="*/ 312 w 422"/>
                      <a:gd name="T55" fmla="*/ 394 h 557"/>
                      <a:gd name="T56" fmla="*/ 240 w 422"/>
                      <a:gd name="T57" fmla="*/ 375 h 557"/>
                      <a:gd name="T58" fmla="*/ 211 w 422"/>
                      <a:gd name="T59" fmla="*/ 346 h 557"/>
                      <a:gd name="T60" fmla="*/ 182 w 422"/>
                      <a:gd name="T61" fmla="*/ 375 h 557"/>
                      <a:gd name="T62" fmla="*/ 197 w 422"/>
                      <a:gd name="T63" fmla="*/ 400 h 557"/>
                      <a:gd name="T64" fmla="*/ 197 w 422"/>
                      <a:gd name="T65" fmla="*/ 442 h 557"/>
                      <a:gd name="T66" fmla="*/ 225 w 422"/>
                      <a:gd name="T67" fmla="*/ 442 h 557"/>
                      <a:gd name="T68" fmla="*/ 225 w 422"/>
                      <a:gd name="T69" fmla="*/ 400 h 557"/>
                      <a:gd name="T70" fmla="*/ 240 w 422"/>
                      <a:gd name="T71" fmla="*/ 375 h 5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422" h="557">
                        <a:moveTo>
                          <a:pt x="67" y="221"/>
                        </a:moveTo>
                        <a:cubicBezTo>
                          <a:pt x="67" y="143"/>
                          <a:pt x="67" y="143"/>
                          <a:pt x="67" y="143"/>
                        </a:cubicBezTo>
                        <a:cubicBezTo>
                          <a:pt x="67" y="64"/>
                          <a:pt x="131" y="0"/>
                          <a:pt x="210" y="0"/>
                        </a:cubicBezTo>
                        <a:cubicBezTo>
                          <a:pt x="212" y="0"/>
                          <a:pt x="212" y="0"/>
                          <a:pt x="212" y="0"/>
                        </a:cubicBezTo>
                        <a:cubicBezTo>
                          <a:pt x="291" y="0"/>
                          <a:pt x="355" y="64"/>
                          <a:pt x="355" y="143"/>
                        </a:cubicBezTo>
                        <a:cubicBezTo>
                          <a:pt x="355" y="221"/>
                          <a:pt x="355" y="221"/>
                          <a:pt x="355" y="221"/>
                        </a:cubicBezTo>
                        <a:cubicBezTo>
                          <a:pt x="307" y="221"/>
                          <a:pt x="307" y="221"/>
                          <a:pt x="307" y="221"/>
                        </a:cubicBezTo>
                        <a:cubicBezTo>
                          <a:pt x="307" y="149"/>
                          <a:pt x="307" y="149"/>
                          <a:pt x="307" y="149"/>
                        </a:cubicBezTo>
                        <a:cubicBezTo>
                          <a:pt x="307" y="93"/>
                          <a:pt x="264" y="48"/>
                          <a:pt x="212" y="48"/>
                        </a:cubicBezTo>
                        <a:cubicBezTo>
                          <a:pt x="210" y="48"/>
                          <a:pt x="210" y="48"/>
                          <a:pt x="210" y="48"/>
                        </a:cubicBezTo>
                        <a:cubicBezTo>
                          <a:pt x="158" y="48"/>
                          <a:pt x="115" y="93"/>
                          <a:pt x="115" y="149"/>
                        </a:cubicBezTo>
                        <a:cubicBezTo>
                          <a:pt x="115" y="221"/>
                          <a:pt x="115" y="221"/>
                          <a:pt x="115" y="221"/>
                        </a:cubicBezTo>
                        <a:lnTo>
                          <a:pt x="67" y="221"/>
                        </a:lnTo>
                        <a:close/>
                        <a:moveTo>
                          <a:pt x="422" y="557"/>
                        </a:moveTo>
                        <a:cubicBezTo>
                          <a:pt x="0" y="557"/>
                          <a:pt x="0" y="557"/>
                          <a:pt x="0" y="557"/>
                        </a:cubicBezTo>
                        <a:cubicBezTo>
                          <a:pt x="0" y="231"/>
                          <a:pt x="0" y="231"/>
                          <a:pt x="0" y="231"/>
                        </a:cubicBezTo>
                        <a:cubicBezTo>
                          <a:pt x="422" y="231"/>
                          <a:pt x="422" y="231"/>
                          <a:pt x="422" y="231"/>
                        </a:cubicBezTo>
                        <a:lnTo>
                          <a:pt x="422" y="557"/>
                        </a:lnTo>
                        <a:close/>
                        <a:moveTo>
                          <a:pt x="321" y="394"/>
                        </a:moveTo>
                        <a:cubicBezTo>
                          <a:pt x="321" y="333"/>
                          <a:pt x="272" y="283"/>
                          <a:pt x="211" y="283"/>
                        </a:cubicBezTo>
                        <a:cubicBezTo>
                          <a:pt x="150" y="283"/>
                          <a:pt x="101" y="333"/>
                          <a:pt x="101" y="394"/>
                        </a:cubicBezTo>
                        <a:cubicBezTo>
                          <a:pt x="101" y="455"/>
                          <a:pt x="150" y="504"/>
                          <a:pt x="211" y="504"/>
                        </a:cubicBezTo>
                        <a:cubicBezTo>
                          <a:pt x="272" y="504"/>
                          <a:pt x="321" y="455"/>
                          <a:pt x="321" y="394"/>
                        </a:cubicBezTo>
                        <a:moveTo>
                          <a:pt x="312" y="394"/>
                        </a:moveTo>
                        <a:cubicBezTo>
                          <a:pt x="312" y="450"/>
                          <a:pt x="267" y="495"/>
                          <a:pt x="211" y="495"/>
                        </a:cubicBezTo>
                        <a:cubicBezTo>
                          <a:pt x="155" y="495"/>
                          <a:pt x="110" y="450"/>
                          <a:pt x="110" y="394"/>
                        </a:cubicBezTo>
                        <a:cubicBezTo>
                          <a:pt x="110" y="338"/>
                          <a:pt x="155" y="293"/>
                          <a:pt x="211" y="293"/>
                        </a:cubicBezTo>
                        <a:cubicBezTo>
                          <a:pt x="267" y="293"/>
                          <a:pt x="312" y="338"/>
                          <a:pt x="312" y="394"/>
                        </a:cubicBezTo>
                        <a:moveTo>
                          <a:pt x="240" y="375"/>
                        </a:moveTo>
                        <a:cubicBezTo>
                          <a:pt x="240" y="359"/>
                          <a:pt x="227" y="346"/>
                          <a:pt x="211" y="346"/>
                        </a:cubicBezTo>
                        <a:cubicBezTo>
                          <a:pt x="195" y="346"/>
                          <a:pt x="182" y="359"/>
                          <a:pt x="182" y="375"/>
                        </a:cubicBezTo>
                        <a:cubicBezTo>
                          <a:pt x="182" y="385"/>
                          <a:pt x="188" y="395"/>
                          <a:pt x="197" y="400"/>
                        </a:cubicBezTo>
                        <a:cubicBezTo>
                          <a:pt x="197" y="442"/>
                          <a:pt x="197" y="442"/>
                          <a:pt x="197" y="442"/>
                        </a:cubicBezTo>
                        <a:cubicBezTo>
                          <a:pt x="225" y="442"/>
                          <a:pt x="225" y="442"/>
                          <a:pt x="225" y="442"/>
                        </a:cubicBezTo>
                        <a:cubicBezTo>
                          <a:pt x="225" y="400"/>
                          <a:pt x="225" y="400"/>
                          <a:pt x="225" y="400"/>
                        </a:cubicBezTo>
                        <a:cubicBezTo>
                          <a:pt x="234" y="395"/>
                          <a:pt x="240" y="385"/>
                          <a:pt x="240" y="375"/>
                        </a:cubicBezTo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100" dirty="0"/>
                  </a:p>
                </p:txBody>
              </p:sp>
            </p:grpSp>
            <p:sp>
              <p:nvSpPr>
                <p:cNvPr id="368" name="Textfeld 367"/>
                <p:cNvSpPr txBox="1">
                  <a:spLocks/>
                </p:cNvSpPr>
                <p:nvPr/>
              </p:nvSpPr>
              <p:spPr bwMode="gray">
                <a:xfrm>
                  <a:off x="4742916" y="5088793"/>
                  <a:ext cx="125755" cy="49501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1</a:t>
                  </a:r>
                </a:p>
              </p:txBody>
            </p:sp>
            <p:sp>
              <p:nvSpPr>
                <p:cNvPr id="369" name="Textfeld 368"/>
                <p:cNvSpPr txBox="1">
                  <a:spLocks/>
                </p:cNvSpPr>
                <p:nvPr/>
              </p:nvSpPr>
              <p:spPr bwMode="gray">
                <a:xfrm>
                  <a:off x="7502336" y="4338925"/>
                  <a:ext cx="115416" cy="39395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1</a:t>
                  </a:r>
                </a:p>
              </p:txBody>
            </p:sp>
            <p:sp>
              <p:nvSpPr>
                <p:cNvPr id="370" name="Textfeld 369"/>
                <p:cNvSpPr txBox="1">
                  <a:spLocks/>
                </p:cNvSpPr>
                <p:nvPr/>
              </p:nvSpPr>
              <p:spPr bwMode="gray">
                <a:xfrm>
                  <a:off x="9353591" y="4555005"/>
                  <a:ext cx="115416" cy="19697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0</a:t>
                  </a:r>
                </a:p>
              </p:txBody>
            </p:sp>
            <p:sp>
              <p:nvSpPr>
                <p:cNvPr id="371" name="Textfeld 370"/>
                <p:cNvSpPr txBox="1">
                  <a:spLocks/>
                </p:cNvSpPr>
                <p:nvPr/>
              </p:nvSpPr>
              <p:spPr bwMode="gray">
                <a:xfrm>
                  <a:off x="6605800" y="4555005"/>
                  <a:ext cx="115416" cy="19697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</p:txBody>
            </p:sp>
            <p:sp>
              <p:nvSpPr>
                <p:cNvPr id="372" name="Textfeld 371"/>
                <p:cNvSpPr txBox="1">
                  <a:spLocks/>
                </p:cNvSpPr>
                <p:nvPr/>
              </p:nvSpPr>
              <p:spPr bwMode="gray">
                <a:xfrm>
                  <a:off x="8433782" y="4230884"/>
                  <a:ext cx="115416" cy="492443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</p:txBody>
            </p:sp>
            <p:sp>
              <p:nvSpPr>
                <p:cNvPr id="373" name="Textfeld 372"/>
                <p:cNvSpPr txBox="1">
                  <a:spLocks/>
                </p:cNvSpPr>
                <p:nvPr/>
              </p:nvSpPr>
              <p:spPr bwMode="gray">
                <a:xfrm>
                  <a:off x="10267582" y="4338925"/>
                  <a:ext cx="115416" cy="39395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0</a:t>
                  </a:r>
                </a:p>
              </p:txBody>
            </p:sp>
            <p:sp>
              <p:nvSpPr>
                <p:cNvPr id="374" name="Textfeld 373"/>
                <p:cNvSpPr txBox="1">
                  <a:spLocks/>
                </p:cNvSpPr>
                <p:nvPr/>
              </p:nvSpPr>
              <p:spPr bwMode="gray">
                <a:xfrm>
                  <a:off x="11199027" y="4014806"/>
                  <a:ext cx="115416" cy="68942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1</a:t>
                  </a:r>
                </a:p>
              </p:txBody>
            </p:sp>
            <p:sp>
              <p:nvSpPr>
                <p:cNvPr id="375" name="Textfeld 374"/>
                <p:cNvSpPr txBox="1">
                  <a:spLocks/>
                </p:cNvSpPr>
                <p:nvPr/>
              </p:nvSpPr>
              <p:spPr bwMode="gray">
                <a:xfrm>
                  <a:off x="5662719" y="4338925"/>
                  <a:ext cx="115416" cy="39395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1</a:t>
                  </a:r>
                </a:p>
              </p:txBody>
            </p:sp>
            <p:sp>
              <p:nvSpPr>
                <p:cNvPr id="376" name="Textfeld 375"/>
                <p:cNvSpPr txBox="1">
                  <a:spLocks/>
                </p:cNvSpPr>
                <p:nvPr/>
              </p:nvSpPr>
              <p:spPr bwMode="gray">
                <a:xfrm>
                  <a:off x="4729695" y="4290384"/>
                  <a:ext cx="125755" cy="594023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0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1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r>
                    <a:rPr lang="en-US" sz="800" b="1" dirty="0">
                      <a:solidFill>
                        <a:schemeClr val="bg1"/>
                      </a:solidFill>
                    </a:rPr>
                    <a:t>01</a:t>
                  </a:r>
                </a:p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</a:pPr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grpSp>
              <p:nvGrpSpPr>
                <p:cNvPr id="377" name="Gruppieren 376"/>
                <p:cNvGrpSpPr/>
                <p:nvPr/>
              </p:nvGrpSpPr>
              <p:grpSpPr>
                <a:xfrm>
                  <a:off x="4415706" y="2903104"/>
                  <a:ext cx="7264327" cy="1339446"/>
                  <a:chOff x="4801786" y="2155027"/>
                  <a:chExt cx="7264327" cy="1878064"/>
                </a:xfrm>
              </p:grpSpPr>
              <p:grpSp>
                <p:nvGrpSpPr>
                  <p:cNvPr id="386" name="Gruppieren 385"/>
                  <p:cNvGrpSpPr/>
                  <p:nvPr/>
                </p:nvGrpSpPr>
                <p:grpSpPr>
                  <a:xfrm>
                    <a:off x="4817001" y="2252220"/>
                    <a:ext cx="7215813" cy="1758753"/>
                    <a:chOff x="4817001" y="2252220"/>
                    <a:chExt cx="7215813" cy="1758753"/>
                  </a:xfrm>
                </p:grpSpPr>
                <p:grpSp>
                  <p:nvGrpSpPr>
                    <p:cNvPr id="637" name="Gruppieren 1227"/>
                    <p:cNvGrpSpPr/>
                    <p:nvPr>
                      <p:custDataLst>
                        <p:tags r:id="rId6"/>
                      </p:custDataLst>
                    </p:nvPr>
                  </p:nvGrpSpPr>
                  <p:grpSpPr bwMode="gray">
                    <a:xfrm>
                      <a:off x="7681111" y="2453849"/>
                      <a:ext cx="1468351" cy="878419"/>
                      <a:chOff x="4546326" y="2758635"/>
                      <a:chExt cx="1438643" cy="908308"/>
                    </a:xfrm>
                  </p:grpSpPr>
                  <p:sp>
                    <p:nvSpPr>
                      <p:cNvPr id="654" name="Freeform 673"/>
                      <p:cNvSpPr>
                        <a:spLocks noEditPoints="1"/>
                      </p:cNvSpPr>
                      <p:nvPr/>
                    </p:nvSpPr>
                    <p:spPr bwMode="gray">
                      <a:xfrm>
                        <a:off x="5167712" y="2758635"/>
                        <a:ext cx="195872" cy="434262"/>
                      </a:xfrm>
                      <a:custGeom>
                        <a:avLst/>
                        <a:gdLst>
                          <a:gd name="T0" fmla="*/ 67 w 422"/>
                          <a:gd name="T1" fmla="*/ 221 h 557"/>
                          <a:gd name="T2" fmla="*/ 67 w 422"/>
                          <a:gd name="T3" fmla="*/ 143 h 557"/>
                          <a:gd name="T4" fmla="*/ 210 w 422"/>
                          <a:gd name="T5" fmla="*/ 0 h 557"/>
                          <a:gd name="T6" fmla="*/ 212 w 422"/>
                          <a:gd name="T7" fmla="*/ 0 h 557"/>
                          <a:gd name="T8" fmla="*/ 355 w 422"/>
                          <a:gd name="T9" fmla="*/ 143 h 557"/>
                          <a:gd name="T10" fmla="*/ 355 w 422"/>
                          <a:gd name="T11" fmla="*/ 221 h 557"/>
                          <a:gd name="T12" fmla="*/ 307 w 422"/>
                          <a:gd name="T13" fmla="*/ 221 h 557"/>
                          <a:gd name="T14" fmla="*/ 307 w 422"/>
                          <a:gd name="T15" fmla="*/ 149 h 557"/>
                          <a:gd name="T16" fmla="*/ 212 w 422"/>
                          <a:gd name="T17" fmla="*/ 48 h 557"/>
                          <a:gd name="T18" fmla="*/ 210 w 422"/>
                          <a:gd name="T19" fmla="*/ 48 h 557"/>
                          <a:gd name="T20" fmla="*/ 115 w 422"/>
                          <a:gd name="T21" fmla="*/ 149 h 557"/>
                          <a:gd name="T22" fmla="*/ 115 w 422"/>
                          <a:gd name="T23" fmla="*/ 221 h 557"/>
                          <a:gd name="T24" fmla="*/ 67 w 422"/>
                          <a:gd name="T25" fmla="*/ 221 h 557"/>
                          <a:gd name="T26" fmla="*/ 422 w 422"/>
                          <a:gd name="T27" fmla="*/ 557 h 557"/>
                          <a:gd name="T28" fmla="*/ 0 w 422"/>
                          <a:gd name="T29" fmla="*/ 557 h 557"/>
                          <a:gd name="T30" fmla="*/ 0 w 422"/>
                          <a:gd name="T31" fmla="*/ 231 h 557"/>
                          <a:gd name="T32" fmla="*/ 422 w 422"/>
                          <a:gd name="T33" fmla="*/ 231 h 557"/>
                          <a:gd name="T34" fmla="*/ 422 w 422"/>
                          <a:gd name="T35" fmla="*/ 557 h 557"/>
                          <a:gd name="T36" fmla="*/ 321 w 422"/>
                          <a:gd name="T37" fmla="*/ 394 h 557"/>
                          <a:gd name="T38" fmla="*/ 211 w 422"/>
                          <a:gd name="T39" fmla="*/ 283 h 557"/>
                          <a:gd name="T40" fmla="*/ 101 w 422"/>
                          <a:gd name="T41" fmla="*/ 394 h 557"/>
                          <a:gd name="T42" fmla="*/ 211 w 422"/>
                          <a:gd name="T43" fmla="*/ 504 h 557"/>
                          <a:gd name="T44" fmla="*/ 321 w 422"/>
                          <a:gd name="T45" fmla="*/ 394 h 557"/>
                          <a:gd name="T46" fmla="*/ 312 w 422"/>
                          <a:gd name="T47" fmla="*/ 394 h 557"/>
                          <a:gd name="T48" fmla="*/ 211 w 422"/>
                          <a:gd name="T49" fmla="*/ 495 h 557"/>
                          <a:gd name="T50" fmla="*/ 110 w 422"/>
                          <a:gd name="T51" fmla="*/ 394 h 557"/>
                          <a:gd name="T52" fmla="*/ 211 w 422"/>
                          <a:gd name="T53" fmla="*/ 293 h 557"/>
                          <a:gd name="T54" fmla="*/ 312 w 422"/>
                          <a:gd name="T55" fmla="*/ 394 h 557"/>
                          <a:gd name="T56" fmla="*/ 240 w 422"/>
                          <a:gd name="T57" fmla="*/ 375 h 557"/>
                          <a:gd name="T58" fmla="*/ 211 w 422"/>
                          <a:gd name="T59" fmla="*/ 346 h 557"/>
                          <a:gd name="T60" fmla="*/ 182 w 422"/>
                          <a:gd name="T61" fmla="*/ 375 h 557"/>
                          <a:gd name="T62" fmla="*/ 197 w 422"/>
                          <a:gd name="T63" fmla="*/ 400 h 557"/>
                          <a:gd name="T64" fmla="*/ 197 w 422"/>
                          <a:gd name="T65" fmla="*/ 442 h 557"/>
                          <a:gd name="T66" fmla="*/ 225 w 422"/>
                          <a:gd name="T67" fmla="*/ 442 h 557"/>
                          <a:gd name="T68" fmla="*/ 225 w 422"/>
                          <a:gd name="T69" fmla="*/ 400 h 557"/>
                          <a:gd name="T70" fmla="*/ 240 w 422"/>
                          <a:gd name="T71" fmla="*/ 375 h 5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</a:cxnLst>
                        <a:rect l="0" t="0" r="r" b="b"/>
                        <a:pathLst>
                          <a:path w="422" h="557">
                            <a:moveTo>
                              <a:pt x="67" y="221"/>
                            </a:moveTo>
                            <a:cubicBezTo>
                              <a:pt x="67" y="143"/>
                              <a:pt x="67" y="143"/>
                              <a:pt x="67" y="143"/>
                            </a:cubicBezTo>
                            <a:cubicBezTo>
                              <a:pt x="67" y="64"/>
                              <a:pt x="131" y="0"/>
                              <a:pt x="210" y="0"/>
                            </a:cubicBezTo>
                            <a:cubicBezTo>
                              <a:pt x="212" y="0"/>
                              <a:pt x="212" y="0"/>
                              <a:pt x="212" y="0"/>
                            </a:cubicBezTo>
                            <a:cubicBezTo>
                              <a:pt x="291" y="0"/>
                              <a:pt x="355" y="64"/>
                              <a:pt x="355" y="143"/>
                            </a:cubicBezTo>
                            <a:cubicBezTo>
                              <a:pt x="355" y="221"/>
                              <a:pt x="355" y="221"/>
                              <a:pt x="355" y="221"/>
                            </a:cubicBezTo>
                            <a:cubicBezTo>
                              <a:pt x="307" y="221"/>
                              <a:pt x="307" y="221"/>
                              <a:pt x="307" y="221"/>
                            </a:cubicBezTo>
                            <a:cubicBezTo>
                              <a:pt x="307" y="149"/>
                              <a:pt x="307" y="149"/>
                              <a:pt x="307" y="149"/>
                            </a:cubicBezTo>
                            <a:cubicBezTo>
                              <a:pt x="307" y="93"/>
                              <a:pt x="264" y="48"/>
                              <a:pt x="212" y="48"/>
                            </a:cubicBezTo>
                            <a:cubicBezTo>
                              <a:pt x="210" y="48"/>
                              <a:pt x="210" y="48"/>
                              <a:pt x="210" y="48"/>
                            </a:cubicBezTo>
                            <a:cubicBezTo>
                              <a:pt x="158" y="48"/>
                              <a:pt x="115" y="93"/>
                              <a:pt x="115" y="149"/>
                            </a:cubicBezTo>
                            <a:cubicBezTo>
                              <a:pt x="115" y="221"/>
                              <a:pt x="115" y="221"/>
                              <a:pt x="115" y="221"/>
                            </a:cubicBezTo>
                            <a:lnTo>
                              <a:pt x="67" y="221"/>
                            </a:lnTo>
                            <a:close/>
                            <a:moveTo>
                              <a:pt x="422" y="557"/>
                            </a:moveTo>
                            <a:cubicBezTo>
                              <a:pt x="0" y="557"/>
                              <a:pt x="0" y="557"/>
                              <a:pt x="0" y="557"/>
                            </a:cubicBezTo>
                            <a:cubicBezTo>
                              <a:pt x="0" y="231"/>
                              <a:pt x="0" y="231"/>
                              <a:pt x="0" y="231"/>
                            </a:cubicBezTo>
                            <a:cubicBezTo>
                              <a:pt x="422" y="231"/>
                              <a:pt x="422" y="231"/>
                              <a:pt x="422" y="231"/>
                            </a:cubicBezTo>
                            <a:lnTo>
                              <a:pt x="422" y="557"/>
                            </a:lnTo>
                            <a:close/>
                            <a:moveTo>
                              <a:pt x="321" y="394"/>
                            </a:moveTo>
                            <a:cubicBezTo>
                              <a:pt x="321" y="333"/>
                              <a:pt x="272" y="283"/>
                              <a:pt x="211" y="283"/>
                            </a:cubicBezTo>
                            <a:cubicBezTo>
                              <a:pt x="150" y="283"/>
                              <a:pt x="101" y="333"/>
                              <a:pt x="101" y="394"/>
                            </a:cubicBezTo>
                            <a:cubicBezTo>
                              <a:pt x="101" y="455"/>
                              <a:pt x="150" y="504"/>
                              <a:pt x="211" y="504"/>
                            </a:cubicBezTo>
                            <a:cubicBezTo>
                              <a:pt x="272" y="504"/>
                              <a:pt x="321" y="455"/>
                              <a:pt x="321" y="394"/>
                            </a:cubicBezTo>
                            <a:moveTo>
                              <a:pt x="312" y="394"/>
                            </a:moveTo>
                            <a:cubicBezTo>
                              <a:pt x="312" y="450"/>
                              <a:pt x="267" y="495"/>
                              <a:pt x="211" y="495"/>
                            </a:cubicBezTo>
                            <a:cubicBezTo>
                              <a:pt x="155" y="495"/>
                              <a:pt x="110" y="450"/>
                              <a:pt x="110" y="394"/>
                            </a:cubicBezTo>
                            <a:cubicBezTo>
                              <a:pt x="110" y="338"/>
                              <a:pt x="155" y="293"/>
                              <a:pt x="211" y="293"/>
                            </a:cubicBezTo>
                            <a:cubicBezTo>
                              <a:pt x="267" y="293"/>
                              <a:pt x="312" y="338"/>
                              <a:pt x="312" y="394"/>
                            </a:cubicBezTo>
                            <a:moveTo>
                              <a:pt x="240" y="375"/>
                            </a:moveTo>
                            <a:cubicBezTo>
                              <a:pt x="240" y="359"/>
                              <a:pt x="227" y="346"/>
                              <a:pt x="211" y="346"/>
                            </a:cubicBezTo>
                            <a:cubicBezTo>
                              <a:pt x="195" y="346"/>
                              <a:pt x="182" y="359"/>
                              <a:pt x="182" y="375"/>
                            </a:cubicBezTo>
                            <a:cubicBezTo>
                              <a:pt x="182" y="385"/>
                              <a:pt x="188" y="395"/>
                              <a:pt x="197" y="400"/>
                            </a:cubicBezTo>
                            <a:cubicBezTo>
                              <a:pt x="197" y="442"/>
                              <a:pt x="197" y="442"/>
                              <a:pt x="197" y="442"/>
                            </a:cubicBezTo>
                            <a:cubicBezTo>
                              <a:pt x="225" y="442"/>
                              <a:pt x="225" y="442"/>
                              <a:pt x="225" y="442"/>
                            </a:cubicBezTo>
                            <a:cubicBezTo>
                              <a:pt x="225" y="400"/>
                              <a:pt x="225" y="400"/>
                              <a:pt x="225" y="400"/>
                            </a:cubicBezTo>
                            <a:cubicBezTo>
                              <a:pt x="234" y="395"/>
                              <a:pt x="240" y="385"/>
                              <a:pt x="240" y="375"/>
                            </a:cubicBezTo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300" dirty="0"/>
                      </a:p>
                    </p:txBody>
                  </p:sp>
                  <p:sp>
                    <p:nvSpPr>
                      <p:cNvPr id="655" name="Textfeld 654"/>
                      <p:cNvSpPr txBox="1"/>
                      <p:nvPr/>
                    </p:nvSpPr>
                    <p:spPr bwMode="gray">
                      <a:xfrm>
                        <a:off x="4546326" y="3220719"/>
                        <a:ext cx="1438643" cy="44622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lIns="0" tIns="0" rIns="0" bIns="0" rtlCol="0">
                        <a:sp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  <a:buFont typeface="Wingdings" charset="0"/>
                          <a:buNone/>
                        </a:pPr>
                        <a:r>
                          <a:rPr lang="en-US" sz="2000" b="1" dirty="0">
                            <a:solidFill>
                              <a:schemeClr val="bg1"/>
                            </a:solidFill>
                            <a:latin typeface="+mn-lt"/>
                          </a:rPr>
                          <a:t>MindSphere</a:t>
                        </a:r>
                      </a:p>
                    </p:txBody>
                  </p:sp>
                </p:grpSp>
                <p:grpSp>
                  <p:nvGrpSpPr>
                    <p:cNvPr id="638" name="Gruppieren 384"/>
                    <p:cNvGrpSpPr/>
                    <p:nvPr/>
                  </p:nvGrpSpPr>
                  <p:grpSpPr bwMode="gray">
                    <a:xfrm>
                      <a:off x="4817001" y="2252220"/>
                      <a:ext cx="7215813" cy="1758753"/>
                      <a:chOff x="5427514" y="2972297"/>
                      <a:chExt cx="6230432" cy="1603270"/>
                    </a:xfrm>
                  </p:grpSpPr>
                  <p:sp>
                    <p:nvSpPr>
                      <p:cNvPr id="639" name="Freihandform 638"/>
                      <p:cNvSpPr/>
                      <p:nvPr/>
                    </p:nvSpPr>
                    <p:spPr bwMode="gray">
                      <a:xfrm>
                        <a:off x="6224224" y="4079773"/>
                        <a:ext cx="1617706" cy="492263"/>
                      </a:xfrm>
                      <a:custGeom>
                        <a:avLst/>
                        <a:gdLst>
                          <a:gd name="connsiteX0" fmla="*/ 0 w 1362075"/>
                          <a:gd name="connsiteY0" fmla="*/ 414338 h 414338"/>
                          <a:gd name="connsiteX1" fmla="*/ 138113 w 1362075"/>
                          <a:gd name="connsiteY1" fmla="*/ 276225 h 414338"/>
                          <a:gd name="connsiteX2" fmla="*/ 538163 w 1362075"/>
                          <a:gd name="connsiteY2" fmla="*/ 276225 h 414338"/>
                          <a:gd name="connsiteX3" fmla="*/ 666751 w 1362075"/>
                          <a:gd name="connsiteY3" fmla="*/ 404813 h 414338"/>
                          <a:gd name="connsiteX4" fmla="*/ 790576 w 1362075"/>
                          <a:gd name="connsiteY4" fmla="*/ 280988 h 414338"/>
                          <a:gd name="connsiteX5" fmla="*/ 914401 w 1362075"/>
                          <a:gd name="connsiteY5" fmla="*/ 404813 h 414338"/>
                          <a:gd name="connsiteX6" fmla="*/ 1362075 w 1362075"/>
                          <a:gd name="connsiteY6" fmla="*/ 0 h 414338"/>
                          <a:gd name="connsiteX0" fmla="*/ 0 w 1362075"/>
                          <a:gd name="connsiteY0" fmla="*/ 414338 h 414338"/>
                          <a:gd name="connsiteX1" fmla="*/ 138113 w 1362075"/>
                          <a:gd name="connsiteY1" fmla="*/ 276225 h 414338"/>
                          <a:gd name="connsiteX2" fmla="*/ 538163 w 1362075"/>
                          <a:gd name="connsiteY2" fmla="*/ 276225 h 414338"/>
                          <a:gd name="connsiteX3" fmla="*/ 666751 w 1362075"/>
                          <a:gd name="connsiteY3" fmla="*/ 404813 h 414338"/>
                          <a:gd name="connsiteX4" fmla="*/ 790576 w 1362075"/>
                          <a:gd name="connsiteY4" fmla="*/ 280988 h 414338"/>
                          <a:gd name="connsiteX5" fmla="*/ 914401 w 1362075"/>
                          <a:gd name="connsiteY5" fmla="*/ 404813 h 414338"/>
                          <a:gd name="connsiteX6" fmla="*/ 950119 w 1362075"/>
                          <a:gd name="connsiteY6" fmla="*/ 407194 h 414338"/>
                          <a:gd name="connsiteX7" fmla="*/ 1362075 w 1362075"/>
                          <a:gd name="connsiteY7" fmla="*/ 0 h 414338"/>
                          <a:gd name="connsiteX0" fmla="*/ 0 w 1362075"/>
                          <a:gd name="connsiteY0" fmla="*/ 414338 h 414338"/>
                          <a:gd name="connsiteX1" fmla="*/ 138113 w 1362075"/>
                          <a:gd name="connsiteY1" fmla="*/ 276225 h 414338"/>
                          <a:gd name="connsiteX2" fmla="*/ 538163 w 1362075"/>
                          <a:gd name="connsiteY2" fmla="*/ 276225 h 414338"/>
                          <a:gd name="connsiteX3" fmla="*/ 666751 w 1362075"/>
                          <a:gd name="connsiteY3" fmla="*/ 404813 h 414338"/>
                          <a:gd name="connsiteX4" fmla="*/ 821532 w 1362075"/>
                          <a:gd name="connsiteY4" fmla="*/ 273844 h 414338"/>
                          <a:gd name="connsiteX5" fmla="*/ 914401 w 1362075"/>
                          <a:gd name="connsiteY5" fmla="*/ 404813 h 414338"/>
                          <a:gd name="connsiteX6" fmla="*/ 950119 w 1362075"/>
                          <a:gd name="connsiteY6" fmla="*/ 407194 h 414338"/>
                          <a:gd name="connsiteX7" fmla="*/ 1362075 w 1362075"/>
                          <a:gd name="connsiteY7" fmla="*/ 0 h 414338"/>
                          <a:gd name="connsiteX0" fmla="*/ 0 w 1362075"/>
                          <a:gd name="connsiteY0" fmla="*/ 414338 h 414338"/>
                          <a:gd name="connsiteX1" fmla="*/ 138113 w 1362075"/>
                          <a:gd name="connsiteY1" fmla="*/ 276225 h 414338"/>
                          <a:gd name="connsiteX2" fmla="*/ 538163 w 1362075"/>
                          <a:gd name="connsiteY2" fmla="*/ 276225 h 414338"/>
                          <a:gd name="connsiteX3" fmla="*/ 666751 w 1362075"/>
                          <a:gd name="connsiteY3" fmla="*/ 404813 h 414338"/>
                          <a:gd name="connsiteX4" fmla="*/ 821532 w 1362075"/>
                          <a:gd name="connsiteY4" fmla="*/ 273844 h 414338"/>
                          <a:gd name="connsiteX5" fmla="*/ 950119 w 1362075"/>
                          <a:gd name="connsiteY5" fmla="*/ 407194 h 414338"/>
                          <a:gd name="connsiteX6" fmla="*/ 1362075 w 1362075"/>
                          <a:gd name="connsiteY6" fmla="*/ 0 h 414338"/>
                          <a:gd name="connsiteX0" fmla="*/ 0 w 1362075"/>
                          <a:gd name="connsiteY0" fmla="*/ 414338 h 414338"/>
                          <a:gd name="connsiteX1" fmla="*/ 138113 w 1362075"/>
                          <a:gd name="connsiteY1" fmla="*/ 276225 h 414338"/>
                          <a:gd name="connsiteX2" fmla="*/ 538163 w 1362075"/>
                          <a:gd name="connsiteY2" fmla="*/ 276225 h 414338"/>
                          <a:gd name="connsiteX3" fmla="*/ 673895 w 1362075"/>
                          <a:gd name="connsiteY3" fmla="*/ 409575 h 414338"/>
                          <a:gd name="connsiteX4" fmla="*/ 821532 w 1362075"/>
                          <a:gd name="connsiteY4" fmla="*/ 273844 h 414338"/>
                          <a:gd name="connsiteX5" fmla="*/ 950119 w 1362075"/>
                          <a:gd name="connsiteY5" fmla="*/ 407194 h 414338"/>
                          <a:gd name="connsiteX6" fmla="*/ 1362075 w 1362075"/>
                          <a:gd name="connsiteY6" fmla="*/ 0 h 41433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362075" h="414338">
                            <a:moveTo>
                              <a:pt x="0" y="414338"/>
                            </a:moveTo>
                            <a:lnTo>
                              <a:pt x="138113" y="276225"/>
                            </a:lnTo>
                            <a:lnTo>
                              <a:pt x="538163" y="276225"/>
                            </a:lnTo>
                            <a:lnTo>
                              <a:pt x="673895" y="409575"/>
                            </a:lnTo>
                            <a:lnTo>
                              <a:pt x="821532" y="273844"/>
                            </a:lnTo>
                            <a:lnTo>
                              <a:pt x="950119" y="407194"/>
                            </a:lnTo>
                            <a:lnTo>
                              <a:pt x="1362075" y="0"/>
                            </a:lnTo>
                          </a:path>
                        </a:pathLst>
                      </a:custGeom>
                      <a:noFill/>
                      <a:ln w="12700">
                        <a:solidFill>
                          <a:srgbClr val="00646E"/>
                        </a:solidFill>
                      </a:ln>
                      <a:effectLst/>
                      <a:extLst/>
                    </p:spPr>
                    <p:txBody>
                      <a:bodyPr wrap="square" lIns="108000" tIns="54000" rIns="108000" bIns="54000" numCol="1" spcCol="72000" rtlCol="0" anchor="ctr">
                        <a:no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  <a:buFont typeface="Wingdings" charset="0"/>
                          <a:buNone/>
                        </a:pPr>
                        <a:endParaRPr lang="en-US" sz="1300" b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640" name="Freihandform 639"/>
                      <p:cNvSpPr/>
                      <p:nvPr/>
                    </p:nvSpPr>
                    <p:spPr bwMode="gray">
                      <a:xfrm>
                        <a:off x="5427514" y="3934893"/>
                        <a:ext cx="656133" cy="314030"/>
                      </a:xfrm>
                      <a:custGeom>
                        <a:avLst/>
                        <a:gdLst>
                          <a:gd name="connsiteX0" fmla="*/ 0 w 552450"/>
                          <a:gd name="connsiteY0" fmla="*/ 0 h 264319"/>
                          <a:gd name="connsiteX1" fmla="*/ 138113 w 552450"/>
                          <a:gd name="connsiteY1" fmla="*/ 135732 h 264319"/>
                          <a:gd name="connsiteX2" fmla="*/ 278607 w 552450"/>
                          <a:gd name="connsiteY2" fmla="*/ 135732 h 264319"/>
                          <a:gd name="connsiteX3" fmla="*/ 278607 w 552450"/>
                          <a:gd name="connsiteY3" fmla="*/ 264319 h 264319"/>
                          <a:gd name="connsiteX4" fmla="*/ 552450 w 552450"/>
                          <a:gd name="connsiteY4" fmla="*/ 264319 h 26431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552450" h="264319">
                            <a:moveTo>
                              <a:pt x="0" y="0"/>
                            </a:moveTo>
                            <a:lnTo>
                              <a:pt x="138113" y="135732"/>
                            </a:lnTo>
                            <a:lnTo>
                              <a:pt x="278607" y="135732"/>
                            </a:lnTo>
                            <a:lnTo>
                              <a:pt x="278607" y="264319"/>
                            </a:lnTo>
                            <a:lnTo>
                              <a:pt x="552450" y="264319"/>
                            </a:lnTo>
                          </a:path>
                        </a:pathLst>
                      </a:custGeom>
                      <a:noFill/>
                      <a:ln w="12700">
                        <a:solidFill>
                          <a:srgbClr val="00646E"/>
                        </a:solidFill>
                      </a:ln>
                      <a:effectLst/>
                      <a:extLst/>
                    </p:spPr>
                    <p:txBody>
                      <a:bodyPr wrap="square" lIns="108000" tIns="54000" rIns="108000" bIns="54000" numCol="1" spcCol="72000" rtlCol="0" anchor="ctr">
                        <a:no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  <a:buFont typeface="Wingdings" charset="0"/>
                          <a:buNone/>
                        </a:pPr>
                        <a:endParaRPr lang="en-US" sz="1300" b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641" name="Freihandform 640"/>
                      <p:cNvSpPr/>
                      <p:nvPr/>
                    </p:nvSpPr>
                    <p:spPr bwMode="gray">
                      <a:xfrm>
                        <a:off x="5428937" y="3450416"/>
                        <a:ext cx="325239" cy="319687"/>
                      </a:xfrm>
                      <a:custGeom>
                        <a:avLst/>
                        <a:gdLst>
                          <a:gd name="connsiteX0" fmla="*/ 0 w 273844"/>
                          <a:gd name="connsiteY0" fmla="*/ 269081 h 269081"/>
                          <a:gd name="connsiteX1" fmla="*/ 142875 w 273844"/>
                          <a:gd name="connsiteY1" fmla="*/ 269081 h 269081"/>
                          <a:gd name="connsiteX2" fmla="*/ 142875 w 273844"/>
                          <a:gd name="connsiteY2" fmla="*/ 133350 h 269081"/>
                          <a:gd name="connsiteX3" fmla="*/ 273844 w 273844"/>
                          <a:gd name="connsiteY3" fmla="*/ 0 h 2690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273844" h="269081">
                            <a:moveTo>
                              <a:pt x="0" y="269081"/>
                            </a:moveTo>
                            <a:lnTo>
                              <a:pt x="142875" y="269081"/>
                            </a:lnTo>
                            <a:lnTo>
                              <a:pt x="142875" y="133350"/>
                            </a:lnTo>
                            <a:lnTo>
                              <a:pt x="273844" y="0"/>
                            </a:lnTo>
                          </a:path>
                        </a:pathLst>
                      </a:custGeom>
                      <a:noFill/>
                      <a:ln w="12700">
                        <a:solidFill>
                          <a:srgbClr val="00646E"/>
                        </a:solidFill>
                      </a:ln>
                      <a:effectLst/>
                      <a:extLst/>
                    </p:spPr>
                    <p:txBody>
                      <a:bodyPr wrap="square" lIns="108000" tIns="54000" rIns="108000" bIns="54000" numCol="1" spcCol="72000" rtlCol="0" anchor="ctr">
                        <a:no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  <a:buFont typeface="Wingdings" charset="0"/>
                          <a:buNone/>
                        </a:pPr>
                        <a:endParaRPr lang="en-US" sz="1300" b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642" name="Freihandform 641"/>
                      <p:cNvSpPr/>
                      <p:nvPr/>
                    </p:nvSpPr>
                    <p:spPr bwMode="gray">
                      <a:xfrm>
                        <a:off x="5739779" y="3148276"/>
                        <a:ext cx="656133" cy="472459"/>
                      </a:xfrm>
                      <a:custGeom>
                        <a:avLst/>
                        <a:gdLst>
                          <a:gd name="connsiteX0" fmla="*/ 0 w 552450"/>
                          <a:gd name="connsiteY0" fmla="*/ 397669 h 397669"/>
                          <a:gd name="connsiteX1" fmla="*/ 290512 w 552450"/>
                          <a:gd name="connsiteY1" fmla="*/ 116681 h 397669"/>
                          <a:gd name="connsiteX2" fmla="*/ 416718 w 552450"/>
                          <a:gd name="connsiteY2" fmla="*/ 116681 h 397669"/>
                          <a:gd name="connsiteX3" fmla="*/ 552450 w 552450"/>
                          <a:gd name="connsiteY3" fmla="*/ 0 h 3976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552450" h="397669">
                            <a:moveTo>
                              <a:pt x="0" y="397669"/>
                            </a:moveTo>
                            <a:lnTo>
                              <a:pt x="290512" y="116681"/>
                            </a:lnTo>
                            <a:lnTo>
                              <a:pt x="416718" y="116681"/>
                            </a:lnTo>
                            <a:lnTo>
                              <a:pt x="552450" y="0"/>
                            </a:lnTo>
                          </a:path>
                        </a:pathLst>
                      </a:custGeom>
                      <a:noFill/>
                      <a:ln w="12700">
                        <a:solidFill>
                          <a:srgbClr val="00646E"/>
                        </a:solidFill>
                      </a:ln>
                      <a:effectLst/>
                      <a:extLst/>
                    </p:spPr>
                    <p:txBody>
                      <a:bodyPr wrap="square" lIns="108000" tIns="54000" rIns="108000" bIns="54000" numCol="1" spcCol="72000" rtlCol="0" anchor="ctr">
                        <a:no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  <a:buFont typeface="Wingdings" charset="0"/>
                          <a:buNone/>
                        </a:pPr>
                        <a:endParaRPr lang="en-US" sz="1300" b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643" name="Freihandform 642"/>
                      <p:cNvSpPr/>
                      <p:nvPr/>
                    </p:nvSpPr>
                    <p:spPr bwMode="gray">
                      <a:xfrm>
                        <a:off x="6400399" y="3456073"/>
                        <a:ext cx="469474" cy="158429"/>
                      </a:xfrm>
                      <a:custGeom>
                        <a:avLst/>
                        <a:gdLst>
                          <a:gd name="connsiteX0" fmla="*/ 0 w 395288"/>
                          <a:gd name="connsiteY0" fmla="*/ 133350 h 133350"/>
                          <a:gd name="connsiteX1" fmla="*/ 135732 w 395288"/>
                          <a:gd name="connsiteY1" fmla="*/ 133350 h 133350"/>
                          <a:gd name="connsiteX2" fmla="*/ 269082 w 395288"/>
                          <a:gd name="connsiteY2" fmla="*/ 0 h 133350"/>
                          <a:gd name="connsiteX3" fmla="*/ 395288 w 395288"/>
                          <a:gd name="connsiteY3" fmla="*/ 0 h 13335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95288" h="133350">
                            <a:moveTo>
                              <a:pt x="0" y="133350"/>
                            </a:moveTo>
                            <a:lnTo>
                              <a:pt x="135732" y="133350"/>
                            </a:lnTo>
                            <a:lnTo>
                              <a:pt x="269082" y="0"/>
                            </a:lnTo>
                            <a:lnTo>
                              <a:pt x="395288" y="0"/>
                            </a:lnTo>
                          </a:path>
                        </a:pathLst>
                      </a:custGeom>
                      <a:noFill/>
                      <a:ln w="12700">
                        <a:solidFill>
                          <a:srgbClr val="00646E"/>
                        </a:solidFill>
                      </a:ln>
                      <a:effectLst/>
                      <a:extLst/>
                    </p:spPr>
                    <p:txBody>
                      <a:bodyPr wrap="square" lIns="108000" tIns="54000" rIns="108000" bIns="54000" numCol="1" spcCol="72000" rtlCol="0" anchor="ctr">
                        <a:no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  <a:buFont typeface="Wingdings" charset="0"/>
                          <a:buNone/>
                        </a:pPr>
                        <a:endParaRPr lang="en-US" sz="1300" b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644" name="Freihandform 643"/>
                      <p:cNvSpPr/>
                      <p:nvPr/>
                    </p:nvSpPr>
                    <p:spPr bwMode="gray">
                      <a:xfrm>
                        <a:off x="5913958" y="3772931"/>
                        <a:ext cx="964403" cy="319689"/>
                      </a:xfrm>
                      <a:custGeom>
                        <a:avLst/>
                        <a:gdLst>
                          <a:gd name="connsiteX0" fmla="*/ 0 w 812007"/>
                          <a:gd name="connsiteY0" fmla="*/ 0 h 269082"/>
                          <a:gd name="connsiteX1" fmla="*/ 150019 w 812007"/>
                          <a:gd name="connsiteY1" fmla="*/ 0 h 269082"/>
                          <a:gd name="connsiteX2" fmla="*/ 273844 w 812007"/>
                          <a:gd name="connsiteY2" fmla="*/ 140494 h 269082"/>
                          <a:gd name="connsiteX3" fmla="*/ 411957 w 812007"/>
                          <a:gd name="connsiteY3" fmla="*/ 140494 h 269082"/>
                          <a:gd name="connsiteX4" fmla="*/ 538163 w 812007"/>
                          <a:gd name="connsiteY4" fmla="*/ 269082 h 269082"/>
                          <a:gd name="connsiteX5" fmla="*/ 812007 w 812007"/>
                          <a:gd name="connsiteY5" fmla="*/ 269082 h 26908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812007" h="269082">
                            <a:moveTo>
                              <a:pt x="0" y="0"/>
                            </a:moveTo>
                            <a:lnTo>
                              <a:pt x="150019" y="0"/>
                            </a:lnTo>
                            <a:lnTo>
                              <a:pt x="273844" y="140494"/>
                            </a:lnTo>
                            <a:lnTo>
                              <a:pt x="411957" y="140494"/>
                            </a:lnTo>
                            <a:lnTo>
                              <a:pt x="538163" y="269082"/>
                            </a:lnTo>
                            <a:lnTo>
                              <a:pt x="812007" y="269082"/>
                            </a:lnTo>
                          </a:path>
                        </a:pathLst>
                      </a:custGeom>
                      <a:noFill/>
                      <a:ln w="12700">
                        <a:solidFill>
                          <a:srgbClr val="00646E"/>
                        </a:solidFill>
                      </a:ln>
                      <a:effectLst/>
                      <a:extLst/>
                    </p:spPr>
                    <p:txBody>
                      <a:bodyPr wrap="square" lIns="108000" tIns="54000" rIns="108000" bIns="54000" numCol="1" spcCol="72000" rtlCol="0" anchor="ctr">
                        <a:no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  <a:buFont typeface="Wingdings" charset="0"/>
                          <a:buNone/>
                        </a:pPr>
                        <a:endParaRPr lang="en-US" sz="1300" b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645" name="Freihandform 644"/>
                      <p:cNvSpPr/>
                      <p:nvPr/>
                    </p:nvSpPr>
                    <p:spPr bwMode="gray">
                      <a:xfrm>
                        <a:off x="9415217" y="2972297"/>
                        <a:ext cx="1111465" cy="322517"/>
                      </a:xfrm>
                      <a:custGeom>
                        <a:avLst/>
                        <a:gdLst>
                          <a:gd name="connsiteX0" fmla="*/ 0 w 935831"/>
                          <a:gd name="connsiteY0" fmla="*/ 271462 h 271462"/>
                          <a:gd name="connsiteX1" fmla="*/ 133350 w 935831"/>
                          <a:gd name="connsiteY1" fmla="*/ 130968 h 271462"/>
                          <a:gd name="connsiteX2" fmla="*/ 411956 w 935831"/>
                          <a:gd name="connsiteY2" fmla="*/ 130968 h 271462"/>
                          <a:gd name="connsiteX3" fmla="*/ 535781 w 935831"/>
                          <a:gd name="connsiteY3" fmla="*/ 0 h 271462"/>
                          <a:gd name="connsiteX4" fmla="*/ 671512 w 935831"/>
                          <a:gd name="connsiteY4" fmla="*/ 0 h 271462"/>
                          <a:gd name="connsiteX5" fmla="*/ 807244 w 935831"/>
                          <a:gd name="connsiteY5" fmla="*/ 145256 h 271462"/>
                          <a:gd name="connsiteX6" fmla="*/ 935831 w 935831"/>
                          <a:gd name="connsiteY6" fmla="*/ 4762 h 27146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935831" h="271462">
                            <a:moveTo>
                              <a:pt x="0" y="271462"/>
                            </a:moveTo>
                            <a:lnTo>
                              <a:pt x="133350" y="130968"/>
                            </a:lnTo>
                            <a:lnTo>
                              <a:pt x="411956" y="130968"/>
                            </a:lnTo>
                            <a:lnTo>
                              <a:pt x="535781" y="0"/>
                            </a:lnTo>
                            <a:lnTo>
                              <a:pt x="671512" y="0"/>
                            </a:lnTo>
                            <a:lnTo>
                              <a:pt x="807244" y="145256"/>
                            </a:lnTo>
                            <a:lnTo>
                              <a:pt x="935831" y="4762"/>
                            </a:lnTo>
                          </a:path>
                        </a:pathLst>
                      </a:custGeom>
                      <a:noFill/>
                      <a:ln w="12700">
                        <a:solidFill>
                          <a:srgbClr val="00646E"/>
                        </a:solidFill>
                      </a:ln>
                      <a:effectLst/>
                      <a:extLst/>
                    </p:spPr>
                    <p:txBody>
                      <a:bodyPr wrap="square" lIns="108000" tIns="54000" rIns="108000" bIns="54000" numCol="1" spcCol="72000" rtlCol="0" anchor="ctr">
                        <a:no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  <a:buFont typeface="Wingdings" charset="0"/>
                          <a:buNone/>
                        </a:pPr>
                        <a:endParaRPr lang="en-US" sz="1300" b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646" name="Freihandform 645"/>
                      <p:cNvSpPr/>
                      <p:nvPr/>
                    </p:nvSpPr>
                    <p:spPr bwMode="gray">
                      <a:xfrm>
                        <a:off x="9727482" y="3288327"/>
                        <a:ext cx="486443" cy="164087"/>
                      </a:xfrm>
                      <a:custGeom>
                        <a:avLst/>
                        <a:gdLst>
                          <a:gd name="connsiteX0" fmla="*/ 0 w 409575"/>
                          <a:gd name="connsiteY0" fmla="*/ 138112 h 138112"/>
                          <a:gd name="connsiteX1" fmla="*/ 140494 w 409575"/>
                          <a:gd name="connsiteY1" fmla="*/ 0 h 138112"/>
                          <a:gd name="connsiteX2" fmla="*/ 409575 w 409575"/>
                          <a:gd name="connsiteY2" fmla="*/ 0 h 13811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409575" h="138112">
                            <a:moveTo>
                              <a:pt x="0" y="138112"/>
                            </a:moveTo>
                            <a:lnTo>
                              <a:pt x="140494" y="0"/>
                            </a:lnTo>
                            <a:lnTo>
                              <a:pt x="409575" y="0"/>
                            </a:lnTo>
                          </a:path>
                        </a:pathLst>
                      </a:custGeom>
                      <a:noFill/>
                      <a:ln w="12700">
                        <a:solidFill>
                          <a:srgbClr val="00646E"/>
                        </a:solidFill>
                      </a:ln>
                      <a:effectLst/>
                      <a:extLst/>
                    </p:spPr>
                    <p:txBody>
                      <a:bodyPr wrap="square" lIns="108000" tIns="54000" rIns="108000" bIns="54000" numCol="1" spcCol="72000" rtlCol="0" anchor="ctr">
                        <a:no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  <a:buFont typeface="Wingdings" charset="0"/>
                          <a:buNone/>
                        </a:pPr>
                        <a:endParaRPr lang="en-US" sz="1300" b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647" name="Freihandform 646"/>
                      <p:cNvSpPr/>
                      <p:nvPr/>
                    </p:nvSpPr>
                    <p:spPr bwMode="gray">
                      <a:xfrm>
                        <a:off x="7982407" y="4086132"/>
                        <a:ext cx="2081523" cy="489435"/>
                      </a:xfrm>
                      <a:custGeom>
                        <a:avLst/>
                        <a:gdLst>
                          <a:gd name="connsiteX0" fmla="*/ 0 w 1752600"/>
                          <a:gd name="connsiteY0" fmla="*/ 138113 h 411957"/>
                          <a:gd name="connsiteX1" fmla="*/ 145256 w 1752600"/>
                          <a:gd name="connsiteY1" fmla="*/ 271463 h 411957"/>
                          <a:gd name="connsiteX2" fmla="*/ 400050 w 1752600"/>
                          <a:gd name="connsiteY2" fmla="*/ 0 h 411957"/>
                          <a:gd name="connsiteX3" fmla="*/ 804862 w 1752600"/>
                          <a:gd name="connsiteY3" fmla="*/ 0 h 411957"/>
                          <a:gd name="connsiteX4" fmla="*/ 938212 w 1752600"/>
                          <a:gd name="connsiteY4" fmla="*/ 140494 h 411957"/>
                          <a:gd name="connsiteX5" fmla="*/ 1202531 w 1752600"/>
                          <a:gd name="connsiteY5" fmla="*/ 140494 h 411957"/>
                          <a:gd name="connsiteX6" fmla="*/ 1335881 w 1752600"/>
                          <a:gd name="connsiteY6" fmla="*/ 273844 h 411957"/>
                          <a:gd name="connsiteX7" fmla="*/ 1469231 w 1752600"/>
                          <a:gd name="connsiteY7" fmla="*/ 130969 h 411957"/>
                          <a:gd name="connsiteX8" fmla="*/ 1752600 w 1752600"/>
                          <a:gd name="connsiteY8" fmla="*/ 411957 h 411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752600" h="411957">
                            <a:moveTo>
                              <a:pt x="0" y="138113"/>
                            </a:moveTo>
                            <a:lnTo>
                              <a:pt x="145256" y="271463"/>
                            </a:lnTo>
                            <a:lnTo>
                              <a:pt x="400050" y="0"/>
                            </a:lnTo>
                            <a:lnTo>
                              <a:pt x="804862" y="0"/>
                            </a:lnTo>
                            <a:lnTo>
                              <a:pt x="938212" y="140494"/>
                            </a:lnTo>
                            <a:lnTo>
                              <a:pt x="1202531" y="140494"/>
                            </a:lnTo>
                            <a:lnTo>
                              <a:pt x="1335881" y="273844"/>
                            </a:lnTo>
                            <a:lnTo>
                              <a:pt x="1469231" y="130969"/>
                            </a:lnTo>
                            <a:lnTo>
                              <a:pt x="1752600" y="411957"/>
                            </a:lnTo>
                          </a:path>
                        </a:pathLst>
                      </a:custGeom>
                      <a:noFill/>
                      <a:ln w="12700">
                        <a:solidFill>
                          <a:srgbClr val="00646E"/>
                        </a:solidFill>
                      </a:ln>
                      <a:effectLst/>
                      <a:extLst/>
                    </p:spPr>
                    <p:txBody>
                      <a:bodyPr wrap="square" lIns="108000" tIns="54000" rIns="108000" bIns="54000" numCol="1" spcCol="72000" rtlCol="0" anchor="ctr">
                        <a:no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  <a:buFont typeface="Wingdings" charset="0"/>
                          <a:buNone/>
                        </a:pPr>
                        <a:endParaRPr lang="en-US" sz="1300" b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648" name="Freihandform 647"/>
                      <p:cNvSpPr/>
                      <p:nvPr/>
                    </p:nvSpPr>
                    <p:spPr bwMode="gray">
                      <a:xfrm>
                        <a:off x="9729143" y="4086962"/>
                        <a:ext cx="653302" cy="169746"/>
                      </a:xfrm>
                      <a:custGeom>
                        <a:avLst/>
                        <a:gdLst>
                          <a:gd name="connsiteX0" fmla="*/ 0 w 550068"/>
                          <a:gd name="connsiteY0" fmla="*/ 0 h 142875"/>
                          <a:gd name="connsiteX1" fmla="*/ 278606 w 550068"/>
                          <a:gd name="connsiteY1" fmla="*/ 0 h 142875"/>
                          <a:gd name="connsiteX2" fmla="*/ 402431 w 550068"/>
                          <a:gd name="connsiteY2" fmla="*/ 142875 h 142875"/>
                          <a:gd name="connsiteX3" fmla="*/ 550068 w 550068"/>
                          <a:gd name="connsiteY3" fmla="*/ 142875 h 14287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550068" h="142875">
                            <a:moveTo>
                              <a:pt x="0" y="0"/>
                            </a:moveTo>
                            <a:lnTo>
                              <a:pt x="278606" y="0"/>
                            </a:lnTo>
                            <a:lnTo>
                              <a:pt x="402431" y="142875"/>
                            </a:lnTo>
                            <a:lnTo>
                              <a:pt x="550068" y="142875"/>
                            </a:lnTo>
                          </a:path>
                        </a:pathLst>
                      </a:custGeom>
                      <a:noFill/>
                      <a:ln w="12700">
                        <a:solidFill>
                          <a:srgbClr val="00646E"/>
                        </a:solidFill>
                      </a:ln>
                      <a:effectLst/>
                      <a:extLst/>
                    </p:spPr>
                    <p:txBody>
                      <a:bodyPr wrap="square" lIns="108000" tIns="54000" rIns="108000" bIns="54000" numCol="1" spcCol="72000" rtlCol="0" anchor="ctr">
                        <a:no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  <a:buFont typeface="Wingdings" charset="0"/>
                          <a:buNone/>
                        </a:pPr>
                        <a:endParaRPr lang="en-US" sz="1300" b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649" name="Freihandform 648"/>
                      <p:cNvSpPr/>
                      <p:nvPr/>
                    </p:nvSpPr>
                    <p:spPr bwMode="gray">
                      <a:xfrm>
                        <a:off x="10685059" y="3142044"/>
                        <a:ext cx="967231" cy="469630"/>
                      </a:xfrm>
                      <a:custGeom>
                        <a:avLst/>
                        <a:gdLst>
                          <a:gd name="connsiteX0" fmla="*/ 0 w 814388"/>
                          <a:gd name="connsiteY0" fmla="*/ 0 h 395287"/>
                          <a:gd name="connsiteX1" fmla="*/ 135731 w 814388"/>
                          <a:gd name="connsiteY1" fmla="*/ 130968 h 395287"/>
                          <a:gd name="connsiteX2" fmla="*/ 273844 w 814388"/>
                          <a:gd name="connsiteY2" fmla="*/ 130968 h 395287"/>
                          <a:gd name="connsiteX3" fmla="*/ 538163 w 814388"/>
                          <a:gd name="connsiteY3" fmla="*/ 395287 h 395287"/>
                          <a:gd name="connsiteX4" fmla="*/ 814388 w 814388"/>
                          <a:gd name="connsiteY4" fmla="*/ 395287 h 3952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814388" h="395287">
                            <a:moveTo>
                              <a:pt x="0" y="0"/>
                            </a:moveTo>
                            <a:lnTo>
                              <a:pt x="135731" y="130968"/>
                            </a:lnTo>
                            <a:lnTo>
                              <a:pt x="273844" y="130968"/>
                            </a:lnTo>
                            <a:lnTo>
                              <a:pt x="538163" y="395287"/>
                            </a:lnTo>
                            <a:lnTo>
                              <a:pt x="814388" y="395287"/>
                            </a:lnTo>
                          </a:path>
                        </a:pathLst>
                      </a:custGeom>
                      <a:noFill/>
                      <a:ln w="12700">
                        <a:solidFill>
                          <a:srgbClr val="00646E"/>
                        </a:solidFill>
                      </a:ln>
                      <a:effectLst/>
                      <a:extLst/>
                    </p:spPr>
                    <p:txBody>
                      <a:bodyPr wrap="square" lIns="108000" tIns="54000" rIns="108000" bIns="54000" numCol="1" spcCol="72000" rtlCol="0" anchor="ctr">
                        <a:no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  <a:buFont typeface="Wingdings" charset="0"/>
                          <a:buNone/>
                        </a:pPr>
                        <a:endParaRPr lang="en-US" sz="1300" b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650" name="Freihandform 649"/>
                      <p:cNvSpPr/>
                      <p:nvPr/>
                    </p:nvSpPr>
                    <p:spPr bwMode="gray">
                      <a:xfrm>
                        <a:off x="10834952" y="3934190"/>
                        <a:ext cx="822994" cy="472458"/>
                      </a:xfrm>
                      <a:custGeom>
                        <a:avLst/>
                        <a:gdLst>
                          <a:gd name="connsiteX0" fmla="*/ 0 w 692944"/>
                          <a:gd name="connsiteY0" fmla="*/ 397668 h 397668"/>
                          <a:gd name="connsiteX1" fmla="*/ 145257 w 692944"/>
                          <a:gd name="connsiteY1" fmla="*/ 397668 h 397668"/>
                          <a:gd name="connsiteX2" fmla="*/ 542925 w 692944"/>
                          <a:gd name="connsiteY2" fmla="*/ 0 h 397668"/>
                          <a:gd name="connsiteX3" fmla="*/ 692944 w 692944"/>
                          <a:gd name="connsiteY3" fmla="*/ 0 h 39766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692944" h="397668">
                            <a:moveTo>
                              <a:pt x="0" y="397668"/>
                            </a:moveTo>
                            <a:lnTo>
                              <a:pt x="145257" y="397668"/>
                            </a:lnTo>
                            <a:lnTo>
                              <a:pt x="542925" y="0"/>
                            </a:lnTo>
                            <a:lnTo>
                              <a:pt x="692944" y="0"/>
                            </a:lnTo>
                          </a:path>
                        </a:pathLst>
                      </a:custGeom>
                      <a:noFill/>
                      <a:ln w="12700">
                        <a:solidFill>
                          <a:srgbClr val="00646E"/>
                        </a:solidFill>
                      </a:ln>
                      <a:effectLst/>
                      <a:extLst/>
                    </p:spPr>
                    <p:txBody>
                      <a:bodyPr wrap="square" lIns="108000" tIns="54000" rIns="108000" bIns="54000" numCol="1" spcCol="72000" rtlCol="0" anchor="ctr">
                        <a:no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  <a:buFont typeface="Wingdings" charset="0"/>
                          <a:buNone/>
                        </a:pPr>
                        <a:endParaRPr lang="en-US" sz="1300" b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651" name="Freihandform 650"/>
                      <p:cNvSpPr/>
                      <p:nvPr/>
                    </p:nvSpPr>
                    <p:spPr bwMode="gray">
                      <a:xfrm>
                        <a:off x="10843438" y="3614501"/>
                        <a:ext cx="483615" cy="164088"/>
                      </a:xfrm>
                      <a:custGeom>
                        <a:avLst/>
                        <a:gdLst>
                          <a:gd name="connsiteX0" fmla="*/ 0 w 407194"/>
                          <a:gd name="connsiteY0" fmla="*/ 0 h 138113"/>
                          <a:gd name="connsiteX1" fmla="*/ 133350 w 407194"/>
                          <a:gd name="connsiteY1" fmla="*/ 0 h 138113"/>
                          <a:gd name="connsiteX2" fmla="*/ 271463 w 407194"/>
                          <a:gd name="connsiteY2" fmla="*/ 138113 h 138113"/>
                          <a:gd name="connsiteX3" fmla="*/ 407194 w 407194"/>
                          <a:gd name="connsiteY3" fmla="*/ 138113 h 1381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407194" h="138113">
                            <a:moveTo>
                              <a:pt x="0" y="0"/>
                            </a:moveTo>
                            <a:lnTo>
                              <a:pt x="133350" y="0"/>
                            </a:lnTo>
                            <a:lnTo>
                              <a:pt x="271463" y="138113"/>
                            </a:lnTo>
                            <a:lnTo>
                              <a:pt x="407194" y="138113"/>
                            </a:lnTo>
                          </a:path>
                        </a:pathLst>
                      </a:custGeom>
                      <a:noFill/>
                      <a:ln w="12700">
                        <a:solidFill>
                          <a:srgbClr val="00646E"/>
                        </a:solidFill>
                      </a:ln>
                      <a:effectLst/>
                      <a:extLst/>
                    </p:spPr>
                    <p:txBody>
                      <a:bodyPr wrap="square" lIns="108000" tIns="54000" rIns="108000" bIns="54000" numCol="1" spcCol="72000" rtlCol="0" anchor="ctr">
                        <a:no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  <a:buFont typeface="Wingdings" charset="0"/>
                          <a:buNone/>
                        </a:pPr>
                        <a:endParaRPr lang="en-US" sz="1300" b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652" name="Freihandform 651"/>
                      <p:cNvSpPr/>
                      <p:nvPr/>
                    </p:nvSpPr>
                    <p:spPr bwMode="gray">
                      <a:xfrm>
                        <a:off x="11171505" y="3770099"/>
                        <a:ext cx="311098" cy="161259"/>
                      </a:xfrm>
                      <a:custGeom>
                        <a:avLst/>
                        <a:gdLst>
                          <a:gd name="connsiteX0" fmla="*/ 0 w 261938"/>
                          <a:gd name="connsiteY0" fmla="*/ 135732 h 135732"/>
                          <a:gd name="connsiteX1" fmla="*/ 126206 w 261938"/>
                          <a:gd name="connsiteY1" fmla="*/ 135732 h 135732"/>
                          <a:gd name="connsiteX2" fmla="*/ 261938 w 261938"/>
                          <a:gd name="connsiteY2" fmla="*/ 0 h 13573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61938" h="135732">
                            <a:moveTo>
                              <a:pt x="0" y="135732"/>
                            </a:moveTo>
                            <a:lnTo>
                              <a:pt x="126206" y="135732"/>
                            </a:lnTo>
                            <a:lnTo>
                              <a:pt x="261938" y="0"/>
                            </a:lnTo>
                          </a:path>
                        </a:pathLst>
                      </a:custGeom>
                      <a:noFill/>
                      <a:ln w="12700">
                        <a:solidFill>
                          <a:srgbClr val="00646E"/>
                        </a:solidFill>
                      </a:ln>
                      <a:effectLst/>
                      <a:extLst/>
                    </p:spPr>
                    <p:txBody>
                      <a:bodyPr wrap="square" lIns="108000" tIns="54000" rIns="108000" bIns="54000" numCol="1" spcCol="72000" rtlCol="0" anchor="ctr">
                        <a:no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  <a:buFont typeface="Wingdings" charset="0"/>
                          <a:buNone/>
                        </a:pPr>
                        <a:endParaRPr lang="en-US" sz="1300" b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653" name="Freihandform 652"/>
                      <p:cNvSpPr/>
                      <p:nvPr/>
                    </p:nvSpPr>
                    <p:spPr bwMode="gray">
                      <a:xfrm>
                        <a:off x="7027311" y="3611670"/>
                        <a:ext cx="478901" cy="147113"/>
                      </a:xfrm>
                      <a:custGeom>
                        <a:avLst/>
                        <a:gdLst>
                          <a:gd name="connsiteX0" fmla="*/ 0 w 403225"/>
                          <a:gd name="connsiteY0" fmla="*/ 0 h 123825"/>
                          <a:gd name="connsiteX1" fmla="*/ 279400 w 403225"/>
                          <a:gd name="connsiteY1" fmla="*/ 0 h 123825"/>
                          <a:gd name="connsiteX2" fmla="*/ 403225 w 403225"/>
                          <a:gd name="connsiteY2" fmla="*/ 123825 h 12382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403225" h="123825">
                            <a:moveTo>
                              <a:pt x="0" y="0"/>
                            </a:moveTo>
                            <a:lnTo>
                              <a:pt x="279400" y="0"/>
                            </a:lnTo>
                            <a:lnTo>
                              <a:pt x="403225" y="123825"/>
                            </a:lnTo>
                          </a:path>
                        </a:pathLst>
                      </a:custGeom>
                      <a:noFill/>
                      <a:ln w="12700">
                        <a:solidFill>
                          <a:srgbClr val="00646E"/>
                        </a:solidFill>
                      </a:ln>
                      <a:effectLst/>
                      <a:extLst/>
                    </p:spPr>
                    <p:txBody>
                      <a:bodyPr wrap="square" lIns="108000" tIns="54000" rIns="108000" bIns="54000" numCol="1" spcCol="72000" rtlCol="0" anchor="ctr">
                        <a:noAutofit/>
                      </a:bodyPr>
                      <a:lstStyle/>
                      <a:p>
                        <a:pPr algn="ctr">
                          <a:spcBef>
                            <a:spcPct val="0"/>
                          </a:spcBef>
                          <a:buFont typeface="Wingdings" charset="0"/>
                          <a:buNone/>
                        </a:pPr>
                        <a:endParaRPr lang="en-US" sz="1300" b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</p:grpSp>
              <p:sp>
                <p:nvSpPr>
                  <p:cNvPr id="387" name="Ellipse 386"/>
                  <p:cNvSpPr/>
                  <p:nvPr/>
                </p:nvSpPr>
                <p:spPr bwMode="gray">
                  <a:xfrm flipV="1">
                    <a:off x="6833835" y="3974442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88" name="Ellipse 387"/>
                  <p:cNvSpPr/>
                  <p:nvPr/>
                </p:nvSpPr>
                <p:spPr bwMode="gray">
                  <a:xfrm flipV="1">
                    <a:off x="6648211" y="3974442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89" name="Ellipse 388"/>
                  <p:cNvSpPr/>
                  <p:nvPr/>
                </p:nvSpPr>
                <p:spPr bwMode="gray">
                  <a:xfrm flipV="1">
                    <a:off x="5726037" y="3974442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0" name="Ellipse 389"/>
                  <p:cNvSpPr/>
                  <p:nvPr/>
                </p:nvSpPr>
                <p:spPr bwMode="gray">
                  <a:xfrm flipV="1">
                    <a:off x="5549524" y="3974442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1" name="Ellipse 390"/>
                  <p:cNvSpPr/>
                  <p:nvPr/>
                </p:nvSpPr>
                <p:spPr bwMode="gray">
                  <a:xfrm flipV="1">
                    <a:off x="9961552" y="3974442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2" name="Ellipse 391"/>
                  <p:cNvSpPr/>
                  <p:nvPr/>
                </p:nvSpPr>
                <p:spPr bwMode="gray">
                  <a:xfrm flipV="1">
                    <a:off x="10698731" y="380255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3" name="Ellipse 392"/>
                  <p:cNvSpPr/>
                  <p:nvPr/>
                </p:nvSpPr>
                <p:spPr bwMode="gray">
                  <a:xfrm flipV="1">
                    <a:off x="10698731" y="3280315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4" name="Ellipse 393"/>
                  <p:cNvSpPr/>
                  <p:nvPr/>
                </p:nvSpPr>
                <p:spPr bwMode="gray">
                  <a:xfrm flipV="1">
                    <a:off x="10698731" y="275522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5" name="Ellipse 394"/>
                  <p:cNvSpPr/>
                  <p:nvPr/>
                </p:nvSpPr>
                <p:spPr bwMode="gray">
                  <a:xfrm flipV="1">
                    <a:off x="10698731" y="2404173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6" name="Ellipse 395"/>
                  <p:cNvSpPr/>
                  <p:nvPr/>
                </p:nvSpPr>
                <p:spPr bwMode="gray">
                  <a:xfrm flipV="1">
                    <a:off x="10882099" y="380255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7" name="Ellipse 396"/>
                  <p:cNvSpPr/>
                  <p:nvPr/>
                </p:nvSpPr>
                <p:spPr bwMode="gray">
                  <a:xfrm flipV="1">
                    <a:off x="11062181" y="3802554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8" name="Ellipse 397"/>
                  <p:cNvSpPr/>
                  <p:nvPr/>
                </p:nvSpPr>
                <p:spPr bwMode="gray">
                  <a:xfrm flipV="1">
                    <a:off x="10882099" y="3454465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9" name="Ellipse 398"/>
                  <p:cNvSpPr/>
                  <p:nvPr/>
                </p:nvSpPr>
                <p:spPr bwMode="gray">
                  <a:xfrm flipV="1">
                    <a:off x="11062181" y="3628080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0" name="Ellipse 399"/>
                  <p:cNvSpPr/>
                  <p:nvPr/>
                </p:nvSpPr>
                <p:spPr bwMode="gray">
                  <a:xfrm flipV="1">
                    <a:off x="11062181" y="3454465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1" name="Ellipse 400"/>
                  <p:cNvSpPr/>
                  <p:nvPr/>
                </p:nvSpPr>
                <p:spPr bwMode="gray">
                  <a:xfrm flipV="1">
                    <a:off x="10516526" y="3628080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2" name="Ellipse 401"/>
                  <p:cNvSpPr/>
                  <p:nvPr/>
                </p:nvSpPr>
                <p:spPr bwMode="gray">
                  <a:xfrm flipV="1">
                    <a:off x="10516526" y="3454465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3" name="Ellipse 402"/>
                  <p:cNvSpPr/>
                  <p:nvPr/>
                </p:nvSpPr>
                <p:spPr bwMode="gray">
                  <a:xfrm flipV="1">
                    <a:off x="10516526" y="3280315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4" name="Ellipse 403"/>
                  <p:cNvSpPr/>
                  <p:nvPr/>
                </p:nvSpPr>
                <p:spPr bwMode="gray">
                  <a:xfrm flipV="1">
                    <a:off x="11615290" y="3454465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5" name="Ellipse 404"/>
                  <p:cNvSpPr/>
                  <p:nvPr/>
                </p:nvSpPr>
                <p:spPr bwMode="gray">
                  <a:xfrm flipV="1">
                    <a:off x="11615290" y="3280315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6" name="Ellipse 405"/>
                  <p:cNvSpPr/>
                  <p:nvPr/>
                </p:nvSpPr>
                <p:spPr bwMode="gray">
                  <a:xfrm flipV="1">
                    <a:off x="11439139" y="3280315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7" name="Ellipse 406"/>
                  <p:cNvSpPr/>
                  <p:nvPr/>
                </p:nvSpPr>
                <p:spPr bwMode="gray">
                  <a:xfrm flipV="1">
                    <a:off x="11615290" y="2931414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8" name="Ellipse 407"/>
                  <p:cNvSpPr/>
                  <p:nvPr/>
                </p:nvSpPr>
                <p:spPr bwMode="gray">
                  <a:xfrm flipV="1">
                    <a:off x="11615290" y="275522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Ellipse 408"/>
                  <p:cNvSpPr/>
                  <p:nvPr/>
                </p:nvSpPr>
                <p:spPr bwMode="gray">
                  <a:xfrm flipV="1">
                    <a:off x="11615290" y="2577523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0" name="Ellipse 409"/>
                  <p:cNvSpPr/>
                  <p:nvPr/>
                </p:nvSpPr>
                <p:spPr bwMode="gray">
                  <a:xfrm flipV="1">
                    <a:off x="10151968" y="2404173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1" name="Ellipse 410"/>
                  <p:cNvSpPr/>
                  <p:nvPr/>
                </p:nvSpPr>
                <p:spPr bwMode="gray">
                  <a:xfrm flipV="1">
                    <a:off x="9961552" y="2404173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2" name="Ellipse 411"/>
                  <p:cNvSpPr/>
                  <p:nvPr/>
                </p:nvSpPr>
                <p:spPr bwMode="gray">
                  <a:xfrm flipV="1">
                    <a:off x="9777120" y="2404173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3" name="Ellipse 412"/>
                  <p:cNvSpPr/>
                  <p:nvPr/>
                </p:nvSpPr>
                <p:spPr bwMode="gray">
                  <a:xfrm flipV="1">
                    <a:off x="11439139" y="2577523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4" name="Ellipse 413"/>
                  <p:cNvSpPr/>
                  <p:nvPr/>
                </p:nvSpPr>
                <p:spPr bwMode="gray">
                  <a:xfrm flipV="1">
                    <a:off x="11439139" y="2755224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5" name="Ellipse 414"/>
                  <p:cNvSpPr/>
                  <p:nvPr/>
                </p:nvSpPr>
                <p:spPr bwMode="gray">
                  <a:xfrm flipV="1">
                    <a:off x="11062181" y="275522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6" name="Ellipse 415"/>
                  <p:cNvSpPr/>
                  <p:nvPr/>
                </p:nvSpPr>
                <p:spPr bwMode="gray">
                  <a:xfrm flipV="1">
                    <a:off x="11251289" y="3280315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7" name="Ellipse 416"/>
                  <p:cNvSpPr/>
                  <p:nvPr/>
                </p:nvSpPr>
                <p:spPr bwMode="gray">
                  <a:xfrm flipV="1">
                    <a:off x="11251289" y="3104609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Ellipse 417"/>
                  <p:cNvSpPr/>
                  <p:nvPr/>
                </p:nvSpPr>
                <p:spPr bwMode="gray">
                  <a:xfrm flipV="1">
                    <a:off x="11251289" y="2404173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9" name="Ellipse 418"/>
                  <p:cNvSpPr/>
                  <p:nvPr/>
                </p:nvSpPr>
                <p:spPr bwMode="gray">
                  <a:xfrm flipV="1">
                    <a:off x="9961552" y="2577523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20" name="Ellipse 419"/>
                  <p:cNvSpPr/>
                  <p:nvPr/>
                </p:nvSpPr>
                <p:spPr bwMode="gray">
                  <a:xfrm flipV="1">
                    <a:off x="10151968" y="2577523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21" name="Ellipse 420"/>
                  <p:cNvSpPr/>
                  <p:nvPr/>
                </p:nvSpPr>
                <p:spPr bwMode="gray">
                  <a:xfrm flipV="1">
                    <a:off x="10324903" y="2577523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22" name="Ellipse 421"/>
                  <p:cNvSpPr/>
                  <p:nvPr/>
                </p:nvSpPr>
                <p:spPr bwMode="gray">
                  <a:xfrm flipV="1">
                    <a:off x="10324903" y="275522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23" name="Ellipse 422"/>
                  <p:cNvSpPr/>
                  <p:nvPr/>
                </p:nvSpPr>
                <p:spPr bwMode="gray">
                  <a:xfrm flipV="1">
                    <a:off x="10324903" y="293141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24" name="Ellipse 423"/>
                  <p:cNvSpPr/>
                  <p:nvPr/>
                </p:nvSpPr>
                <p:spPr bwMode="gray">
                  <a:xfrm flipV="1">
                    <a:off x="10324903" y="3454465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25" name="Ellipse 424"/>
                  <p:cNvSpPr/>
                  <p:nvPr/>
                </p:nvSpPr>
                <p:spPr bwMode="gray">
                  <a:xfrm flipV="1">
                    <a:off x="9961552" y="3802554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26" name="Ellipse 425"/>
                  <p:cNvSpPr/>
                  <p:nvPr/>
                </p:nvSpPr>
                <p:spPr bwMode="gray">
                  <a:xfrm flipV="1">
                    <a:off x="9961552" y="3628080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27" name="Ellipse 426"/>
                  <p:cNvSpPr/>
                  <p:nvPr/>
                </p:nvSpPr>
                <p:spPr bwMode="gray">
                  <a:xfrm flipV="1">
                    <a:off x="9961552" y="3104609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28" name="Ellipse 427"/>
                  <p:cNvSpPr/>
                  <p:nvPr/>
                </p:nvSpPr>
                <p:spPr bwMode="gray">
                  <a:xfrm flipV="1">
                    <a:off x="9961552" y="275522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29" name="Ellipse 428"/>
                  <p:cNvSpPr/>
                  <p:nvPr/>
                </p:nvSpPr>
                <p:spPr bwMode="gray">
                  <a:xfrm flipV="1">
                    <a:off x="9777120" y="3454465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30" name="Ellipse 429"/>
                  <p:cNvSpPr/>
                  <p:nvPr/>
                </p:nvSpPr>
                <p:spPr bwMode="gray">
                  <a:xfrm flipV="1">
                    <a:off x="9777120" y="293141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31" name="Ellipse 430"/>
                  <p:cNvSpPr/>
                  <p:nvPr/>
                </p:nvSpPr>
                <p:spPr bwMode="gray">
                  <a:xfrm flipV="1">
                    <a:off x="9404364" y="380255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32" name="Ellipse 431"/>
                  <p:cNvSpPr/>
                  <p:nvPr/>
                </p:nvSpPr>
                <p:spPr bwMode="gray">
                  <a:xfrm flipV="1">
                    <a:off x="9404364" y="3628080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33" name="Ellipse 432"/>
                  <p:cNvSpPr/>
                  <p:nvPr/>
                </p:nvSpPr>
                <p:spPr bwMode="gray">
                  <a:xfrm flipV="1">
                    <a:off x="9404364" y="293141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34" name="Ellipse 433"/>
                  <p:cNvSpPr/>
                  <p:nvPr/>
                </p:nvSpPr>
                <p:spPr bwMode="gray">
                  <a:xfrm flipV="1">
                    <a:off x="9404364" y="275522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35" name="Ellipse 434"/>
                  <p:cNvSpPr/>
                  <p:nvPr/>
                </p:nvSpPr>
                <p:spPr bwMode="gray">
                  <a:xfrm flipV="1">
                    <a:off x="9404364" y="2577523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36" name="Ellipse 435"/>
                  <p:cNvSpPr/>
                  <p:nvPr/>
                </p:nvSpPr>
                <p:spPr bwMode="gray">
                  <a:xfrm flipV="1">
                    <a:off x="9404364" y="2404173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37" name="Ellipse 436"/>
                  <p:cNvSpPr/>
                  <p:nvPr/>
                </p:nvSpPr>
                <p:spPr bwMode="gray">
                  <a:xfrm flipV="1">
                    <a:off x="9592073" y="2404173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38" name="Ellipse 437"/>
                  <p:cNvSpPr/>
                  <p:nvPr/>
                </p:nvSpPr>
                <p:spPr bwMode="gray">
                  <a:xfrm flipV="1">
                    <a:off x="9404364" y="2166757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39" name="Ellipse 438"/>
                  <p:cNvSpPr/>
                  <p:nvPr/>
                </p:nvSpPr>
                <p:spPr bwMode="gray">
                  <a:xfrm flipV="1">
                    <a:off x="9224214" y="2404173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40" name="Ellipse 439"/>
                  <p:cNvSpPr/>
                  <p:nvPr/>
                </p:nvSpPr>
                <p:spPr bwMode="gray">
                  <a:xfrm flipV="1">
                    <a:off x="9224214" y="3628080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41" name="Ellipse 440"/>
                  <p:cNvSpPr/>
                  <p:nvPr/>
                </p:nvSpPr>
                <p:spPr bwMode="gray">
                  <a:xfrm flipV="1">
                    <a:off x="9037514" y="380255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42" name="Ellipse 441"/>
                  <p:cNvSpPr/>
                  <p:nvPr/>
                </p:nvSpPr>
                <p:spPr bwMode="gray">
                  <a:xfrm flipV="1">
                    <a:off x="9037514" y="275522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43" name="Ellipse 442"/>
                  <p:cNvSpPr/>
                  <p:nvPr/>
                </p:nvSpPr>
                <p:spPr bwMode="gray">
                  <a:xfrm flipV="1">
                    <a:off x="9037514" y="2577523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44" name="Ellipse 443"/>
                  <p:cNvSpPr/>
                  <p:nvPr/>
                </p:nvSpPr>
                <p:spPr bwMode="gray">
                  <a:xfrm flipV="1">
                    <a:off x="9037514" y="3628080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45" name="Ellipse 444"/>
                  <p:cNvSpPr/>
                  <p:nvPr/>
                </p:nvSpPr>
                <p:spPr bwMode="gray">
                  <a:xfrm flipV="1">
                    <a:off x="8857313" y="3628080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46" name="Ellipse 445"/>
                  <p:cNvSpPr/>
                  <p:nvPr/>
                </p:nvSpPr>
                <p:spPr bwMode="gray">
                  <a:xfrm flipV="1">
                    <a:off x="8665891" y="3628080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47" name="Ellipse 446"/>
                  <p:cNvSpPr/>
                  <p:nvPr/>
                </p:nvSpPr>
                <p:spPr bwMode="gray">
                  <a:xfrm flipV="1">
                    <a:off x="8306774" y="3454465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48" name="Ellipse 447"/>
                  <p:cNvSpPr/>
                  <p:nvPr/>
                </p:nvSpPr>
                <p:spPr bwMode="gray">
                  <a:xfrm flipV="1">
                    <a:off x="8119384" y="3628080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49" name="Ellipse 448"/>
                  <p:cNvSpPr/>
                  <p:nvPr/>
                </p:nvSpPr>
                <p:spPr bwMode="gray">
                  <a:xfrm flipV="1">
                    <a:off x="7945065" y="3802554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50" name="Ellipse 449"/>
                  <p:cNvSpPr/>
                  <p:nvPr/>
                </p:nvSpPr>
                <p:spPr bwMode="gray">
                  <a:xfrm flipV="1">
                    <a:off x="7569112" y="275522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51" name="Ellipse 450"/>
                  <p:cNvSpPr/>
                  <p:nvPr/>
                </p:nvSpPr>
                <p:spPr bwMode="gray">
                  <a:xfrm flipV="1">
                    <a:off x="7569112" y="2577523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52" name="Ellipse 451"/>
                  <p:cNvSpPr/>
                  <p:nvPr/>
                </p:nvSpPr>
                <p:spPr bwMode="gray">
                  <a:xfrm flipV="1">
                    <a:off x="7569112" y="2404173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53" name="Ellipse 452"/>
                  <p:cNvSpPr/>
                  <p:nvPr/>
                </p:nvSpPr>
                <p:spPr bwMode="gray">
                  <a:xfrm flipV="1">
                    <a:off x="7381276" y="2404173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54" name="Ellipse 453"/>
                  <p:cNvSpPr/>
                  <p:nvPr/>
                </p:nvSpPr>
                <p:spPr bwMode="gray">
                  <a:xfrm flipV="1">
                    <a:off x="7381276" y="2166757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55" name="Ellipse 454"/>
                  <p:cNvSpPr/>
                  <p:nvPr/>
                </p:nvSpPr>
                <p:spPr bwMode="gray">
                  <a:xfrm flipV="1">
                    <a:off x="7204389" y="2404173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56" name="Ellipse 455"/>
                  <p:cNvSpPr/>
                  <p:nvPr/>
                </p:nvSpPr>
                <p:spPr bwMode="gray">
                  <a:xfrm flipV="1">
                    <a:off x="7204389" y="2166757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57" name="Ellipse 456"/>
                  <p:cNvSpPr/>
                  <p:nvPr/>
                </p:nvSpPr>
                <p:spPr bwMode="gray">
                  <a:xfrm flipV="1">
                    <a:off x="7204389" y="275522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58" name="Ellipse 457"/>
                  <p:cNvSpPr/>
                  <p:nvPr/>
                </p:nvSpPr>
                <p:spPr bwMode="gray">
                  <a:xfrm flipV="1">
                    <a:off x="7204389" y="3104609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59" name="Ellipse 458"/>
                  <p:cNvSpPr/>
                  <p:nvPr/>
                </p:nvSpPr>
                <p:spPr bwMode="gray">
                  <a:xfrm flipV="1">
                    <a:off x="7020963" y="2931414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60" name="Ellipse 459"/>
                  <p:cNvSpPr/>
                  <p:nvPr/>
                </p:nvSpPr>
                <p:spPr bwMode="gray">
                  <a:xfrm flipV="1">
                    <a:off x="6833835" y="2931414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61" name="Ellipse 460"/>
                  <p:cNvSpPr/>
                  <p:nvPr/>
                </p:nvSpPr>
                <p:spPr bwMode="gray">
                  <a:xfrm flipV="1">
                    <a:off x="6833835" y="2577523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62" name="Ellipse 461"/>
                  <p:cNvSpPr/>
                  <p:nvPr/>
                </p:nvSpPr>
                <p:spPr bwMode="gray">
                  <a:xfrm flipV="1">
                    <a:off x="6833835" y="275522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63" name="Ellipse 462"/>
                  <p:cNvSpPr/>
                  <p:nvPr/>
                </p:nvSpPr>
                <p:spPr bwMode="gray">
                  <a:xfrm flipV="1">
                    <a:off x="6833835" y="3280315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64" name="Ellipse 463"/>
                  <p:cNvSpPr/>
                  <p:nvPr/>
                </p:nvSpPr>
                <p:spPr bwMode="gray">
                  <a:xfrm flipV="1">
                    <a:off x="6833835" y="3628080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65" name="Ellipse 464"/>
                  <p:cNvSpPr/>
                  <p:nvPr/>
                </p:nvSpPr>
                <p:spPr bwMode="gray">
                  <a:xfrm flipV="1">
                    <a:off x="6833835" y="3802554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66" name="Ellipse 465"/>
                  <p:cNvSpPr/>
                  <p:nvPr/>
                </p:nvSpPr>
                <p:spPr bwMode="gray">
                  <a:xfrm flipV="1">
                    <a:off x="6648211" y="2931414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67" name="Ellipse 466"/>
                  <p:cNvSpPr/>
                  <p:nvPr/>
                </p:nvSpPr>
                <p:spPr bwMode="gray">
                  <a:xfrm flipV="1">
                    <a:off x="6648211" y="275522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68" name="Ellipse 467"/>
                  <p:cNvSpPr/>
                  <p:nvPr/>
                </p:nvSpPr>
                <p:spPr bwMode="gray">
                  <a:xfrm flipV="1">
                    <a:off x="6466674" y="2404173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69" name="Ellipse 468"/>
                  <p:cNvSpPr/>
                  <p:nvPr/>
                </p:nvSpPr>
                <p:spPr bwMode="gray">
                  <a:xfrm flipV="1">
                    <a:off x="6466674" y="2166757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70" name="Ellipse 469"/>
                  <p:cNvSpPr/>
                  <p:nvPr/>
                </p:nvSpPr>
                <p:spPr bwMode="gray">
                  <a:xfrm flipV="1">
                    <a:off x="6466674" y="3802554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71" name="Ellipse 470"/>
                  <p:cNvSpPr/>
                  <p:nvPr/>
                </p:nvSpPr>
                <p:spPr bwMode="gray">
                  <a:xfrm flipV="1">
                    <a:off x="6097290" y="275522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72" name="Ellipse 471"/>
                  <p:cNvSpPr/>
                  <p:nvPr/>
                </p:nvSpPr>
                <p:spPr bwMode="gray">
                  <a:xfrm flipV="1">
                    <a:off x="6281008" y="2755224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73" name="Ellipse 472"/>
                  <p:cNvSpPr/>
                  <p:nvPr/>
                </p:nvSpPr>
                <p:spPr bwMode="gray">
                  <a:xfrm flipV="1">
                    <a:off x="6281008" y="3104609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74" name="Ellipse 473"/>
                  <p:cNvSpPr/>
                  <p:nvPr/>
                </p:nvSpPr>
                <p:spPr bwMode="gray">
                  <a:xfrm flipV="1">
                    <a:off x="5921113" y="2404173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75" name="Ellipse 474"/>
                  <p:cNvSpPr/>
                  <p:nvPr/>
                </p:nvSpPr>
                <p:spPr bwMode="gray">
                  <a:xfrm flipV="1">
                    <a:off x="5921113" y="2931414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76" name="Ellipse 475"/>
                  <p:cNvSpPr/>
                  <p:nvPr/>
                </p:nvSpPr>
                <p:spPr bwMode="gray">
                  <a:xfrm flipV="1">
                    <a:off x="5921113" y="3628080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77" name="Ellipse 476"/>
                  <p:cNvSpPr/>
                  <p:nvPr/>
                </p:nvSpPr>
                <p:spPr bwMode="gray">
                  <a:xfrm flipV="1">
                    <a:off x="5726037" y="380255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78" name="Ellipse 477"/>
                  <p:cNvSpPr/>
                  <p:nvPr/>
                </p:nvSpPr>
                <p:spPr bwMode="gray">
                  <a:xfrm flipV="1">
                    <a:off x="5726037" y="3628080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79" name="Ellipse 478"/>
                  <p:cNvSpPr/>
                  <p:nvPr/>
                </p:nvSpPr>
                <p:spPr bwMode="gray">
                  <a:xfrm flipV="1">
                    <a:off x="5549524" y="3104609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80" name="Ellipse 479"/>
                  <p:cNvSpPr/>
                  <p:nvPr/>
                </p:nvSpPr>
                <p:spPr bwMode="gray">
                  <a:xfrm flipV="1">
                    <a:off x="5549524" y="293141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81" name="Ellipse 480"/>
                  <p:cNvSpPr/>
                  <p:nvPr/>
                </p:nvSpPr>
                <p:spPr bwMode="gray">
                  <a:xfrm flipV="1">
                    <a:off x="5549524" y="275522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82" name="Ellipse 481"/>
                  <p:cNvSpPr/>
                  <p:nvPr/>
                </p:nvSpPr>
                <p:spPr bwMode="gray">
                  <a:xfrm flipV="1">
                    <a:off x="5549524" y="2404173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83" name="Ellipse 482"/>
                  <p:cNvSpPr/>
                  <p:nvPr/>
                </p:nvSpPr>
                <p:spPr bwMode="gray">
                  <a:xfrm flipV="1">
                    <a:off x="5359187" y="380255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84" name="Ellipse 483"/>
                  <p:cNvSpPr/>
                  <p:nvPr/>
                </p:nvSpPr>
                <p:spPr bwMode="gray">
                  <a:xfrm flipV="1">
                    <a:off x="5359187" y="3104609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85" name="Ellipse 484"/>
                  <p:cNvSpPr/>
                  <p:nvPr/>
                </p:nvSpPr>
                <p:spPr bwMode="gray">
                  <a:xfrm flipV="1">
                    <a:off x="5359187" y="2755224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86" name="Ellipse 485"/>
                  <p:cNvSpPr/>
                  <p:nvPr/>
                </p:nvSpPr>
                <p:spPr bwMode="gray">
                  <a:xfrm flipV="1">
                    <a:off x="5359187" y="3628080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87" name="Ellipse 486"/>
                  <p:cNvSpPr/>
                  <p:nvPr/>
                </p:nvSpPr>
                <p:spPr bwMode="gray">
                  <a:xfrm flipV="1">
                    <a:off x="5172486" y="3628080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accent5"/>
                      </a:solidFill>
                    </a:endParaRPr>
                  </a:p>
                </p:txBody>
              </p:sp>
              <p:sp>
                <p:nvSpPr>
                  <p:cNvPr id="488" name="Ellipse 487"/>
                  <p:cNvSpPr/>
                  <p:nvPr/>
                </p:nvSpPr>
                <p:spPr bwMode="gray">
                  <a:xfrm flipV="1">
                    <a:off x="5172486" y="2755224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accent5"/>
                      </a:solidFill>
                    </a:endParaRPr>
                  </a:p>
                </p:txBody>
              </p:sp>
              <p:sp>
                <p:nvSpPr>
                  <p:cNvPr id="489" name="Ellipse 488"/>
                  <p:cNvSpPr/>
                  <p:nvPr/>
                </p:nvSpPr>
                <p:spPr bwMode="gray">
                  <a:xfrm flipV="1">
                    <a:off x="5172486" y="2577523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accent5"/>
                      </a:solidFill>
                    </a:endParaRPr>
                  </a:p>
                </p:txBody>
              </p:sp>
              <p:sp>
                <p:nvSpPr>
                  <p:cNvPr id="490" name="Ellipse 489"/>
                  <p:cNvSpPr/>
                  <p:nvPr/>
                </p:nvSpPr>
                <p:spPr bwMode="gray">
                  <a:xfrm flipV="1">
                    <a:off x="4985785" y="2931414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accent5"/>
                      </a:solidFill>
                    </a:endParaRPr>
                  </a:p>
                </p:txBody>
              </p:sp>
              <p:sp>
                <p:nvSpPr>
                  <p:cNvPr id="491" name="Ellipse 490"/>
                  <p:cNvSpPr/>
                  <p:nvPr/>
                </p:nvSpPr>
                <p:spPr bwMode="gray">
                  <a:xfrm flipV="1">
                    <a:off x="4985785" y="3104609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accent5"/>
                      </a:solidFill>
                    </a:endParaRPr>
                  </a:p>
                </p:txBody>
              </p:sp>
              <p:sp>
                <p:nvSpPr>
                  <p:cNvPr id="492" name="Ellipse 491"/>
                  <p:cNvSpPr/>
                  <p:nvPr/>
                </p:nvSpPr>
                <p:spPr bwMode="gray">
                  <a:xfrm flipV="1">
                    <a:off x="4985785" y="3280315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accent5"/>
                      </a:solidFill>
                    </a:endParaRPr>
                  </a:p>
                </p:txBody>
              </p:sp>
              <p:sp>
                <p:nvSpPr>
                  <p:cNvPr id="493" name="Ellipse 492"/>
                  <p:cNvSpPr/>
                  <p:nvPr/>
                </p:nvSpPr>
                <p:spPr bwMode="gray">
                  <a:xfrm flipV="1">
                    <a:off x="4985785" y="3454465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accent5"/>
                      </a:solidFill>
                    </a:endParaRPr>
                  </a:p>
                </p:txBody>
              </p:sp>
              <p:sp>
                <p:nvSpPr>
                  <p:cNvPr id="494" name="Ellipse 493"/>
                  <p:cNvSpPr/>
                  <p:nvPr/>
                </p:nvSpPr>
                <p:spPr bwMode="gray">
                  <a:xfrm flipV="1">
                    <a:off x="4801786" y="3104609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accent5"/>
                      </a:solidFill>
                    </a:endParaRPr>
                  </a:p>
                </p:txBody>
              </p:sp>
              <p:sp>
                <p:nvSpPr>
                  <p:cNvPr id="495" name="Ellipse 494"/>
                  <p:cNvSpPr/>
                  <p:nvPr/>
                </p:nvSpPr>
                <p:spPr bwMode="gray">
                  <a:xfrm flipV="1">
                    <a:off x="4801786" y="3280315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accent5"/>
                      </a:solidFill>
                    </a:endParaRPr>
                  </a:p>
                </p:txBody>
              </p:sp>
              <p:sp>
                <p:nvSpPr>
                  <p:cNvPr id="496" name="Ellipse 495"/>
                  <p:cNvSpPr/>
                  <p:nvPr/>
                </p:nvSpPr>
                <p:spPr bwMode="gray">
                  <a:xfrm flipV="1">
                    <a:off x="4801786" y="2755224"/>
                    <a:ext cx="49519" cy="469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accent5"/>
                      </a:solidFill>
                    </a:endParaRPr>
                  </a:p>
                </p:txBody>
              </p:sp>
              <p:sp>
                <p:nvSpPr>
                  <p:cNvPr id="497" name="Ellipse 496"/>
                  <p:cNvSpPr/>
                  <p:nvPr/>
                </p:nvSpPr>
                <p:spPr bwMode="gray">
                  <a:xfrm flipV="1">
                    <a:off x="11238910" y="3790826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98" name="Ellipse 497"/>
                  <p:cNvSpPr/>
                  <p:nvPr/>
                </p:nvSpPr>
                <p:spPr bwMode="gray">
                  <a:xfrm flipV="1">
                    <a:off x="11238910" y="3616352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99" name="Ellipse 498"/>
                  <p:cNvSpPr/>
                  <p:nvPr/>
                </p:nvSpPr>
                <p:spPr bwMode="gray">
                  <a:xfrm flipV="1">
                    <a:off x="11238910" y="3442737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00" name="Ellipse 499"/>
                  <p:cNvSpPr/>
                  <p:nvPr/>
                </p:nvSpPr>
                <p:spPr bwMode="gray">
                  <a:xfrm flipV="1">
                    <a:off x="11238910" y="2919686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01" name="Ellipse 500"/>
                  <p:cNvSpPr/>
                  <p:nvPr/>
                </p:nvSpPr>
                <p:spPr bwMode="gray">
                  <a:xfrm flipV="1">
                    <a:off x="11238910" y="274349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02" name="Ellipse 501"/>
                  <p:cNvSpPr/>
                  <p:nvPr/>
                </p:nvSpPr>
                <p:spPr bwMode="gray">
                  <a:xfrm flipV="1">
                    <a:off x="11238910" y="2565795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03" name="Ellipse 502"/>
                  <p:cNvSpPr/>
                  <p:nvPr/>
                </p:nvSpPr>
                <p:spPr bwMode="gray">
                  <a:xfrm flipV="1">
                    <a:off x="11049801" y="2565795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04" name="Ellipse 503"/>
                  <p:cNvSpPr/>
                  <p:nvPr/>
                </p:nvSpPr>
                <p:spPr bwMode="gray">
                  <a:xfrm flipV="1">
                    <a:off x="10869720" y="256579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05" name="Ellipse 504"/>
                  <p:cNvSpPr/>
                  <p:nvPr/>
                </p:nvSpPr>
                <p:spPr bwMode="gray">
                  <a:xfrm flipV="1">
                    <a:off x="10686352" y="256579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06" name="Ellipse 505"/>
                  <p:cNvSpPr/>
                  <p:nvPr/>
                </p:nvSpPr>
                <p:spPr bwMode="gray">
                  <a:xfrm flipV="1">
                    <a:off x="10882099" y="2404173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07" name="Ellipse 506"/>
                  <p:cNvSpPr/>
                  <p:nvPr/>
                </p:nvSpPr>
                <p:spPr bwMode="gray">
                  <a:xfrm flipV="1">
                    <a:off x="10504147" y="256579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08" name="Ellipse 507"/>
                  <p:cNvSpPr/>
                  <p:nvPr/>
                </p:nvSpPr>
                <p:spPr bwMode="gray">
                  <a:xfrm flipV="1">
                    <a:off x="10504147" y="274349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09" name="Ellipse 508"/>
                  <p:cNvSpPr/>
                  <p:nvPr/>
                </p:nvSpPr>
                <p:spPr bwMode="gray">
                  <a:xfrm flipV="1">
                    <a:off x="10504147" y="291968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10" name="Ellipse 509"/>
                  <p:cNvSpPr/>
                  <p:nvPr/>
                </p:nvSpPr>
                <p:spPr bwMode="gray">
                  <a:xfrm flipV="1">
                    <a:off x="10686352" y="291968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11" name="Ellipse 510"/>
                  <p:cNvSpPr/>
                  <p:nvPr/>
                </p:nvSpPr>
                <p:spPr bwMode="gray">
                  <a:xfrm flipV="1">
                    <a:off x="10869720" y="291968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12" name="Ellipse 511"/>
                  <p:cNvSpPr/>
                  <p:nvPr/>
                </p:nvSpPr>
                <p:spPr bwMode="gray">
                  <a:xfrm flipV="1">
                    <a:off x="11049801" y="2919686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13" name="Ellipse 512"/>
                  <p:cNvSpPr/>
                  <p:nvPr/>
                </p:nvSpPr>
                <p:spPr bwMode="gray">
                  <a:xfrm flipV="1">
                    <a:off x="11049801" y="3092881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14" name="Ellipse 513"/>
                  <p:cNvSpPr/>
                  <p:nvPr/>
                </p:nvSpPr>
                <p:spPr bwMode="gray">
                  <a:xfrm flipV="1">
                    <a:off x="11049801" y="326858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15" name="Ellipse 514"/>
                  <p:cNvSpPr/>
                  <p:nvPr/>
                </p:nvSpPr>
                <p:spPr bwMode="gray">
                  <a:xfrm flipV="1">
                    <a:off x="11426759" y="3092881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16" name="Ellipse 515"/>
                  <p:cNvSpPr/>
                  <p:nvPr/>
                </p:nvSpPr>
                <p:spPr bwMode="gray">
                  <a:xfrm flipV="1">
                    <a:off x="11426759" y="291968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17" name="Ellipse 516"/>
                  <p:cNvSpPr/>
                  <p:nvPr/>
                </p:nvSpPr>
                <p:spPr bwMode="gray">
                  <a:xfrm flipV="1">
                    <a:off x="11602910" y="3092881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18" name="Ellipse 517"/>
                  <p:cNvSpPr/>
                  <p:nvPr/>
                </p:nvSpPr>
                <p:spPr bwMode="gray">
                  <a:xfrm flipV="1">
                    <a:off x="11789611" y="3092881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19" name="Ellipse 518"/>
                  <p:cNvSpPr/>
                  <p:nvPr/>
                </p:nvSpPr>
                <p:spPr bwMode="gray">
                  <a:xfrm flipV="1">
                    <a:off x="11801990" y="3280315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20" name="Ellipse 519"/>
                  <p:cNvSpPr/>
                  <p:nvPr/>
                </p:nvSpPr>
                <p:spPr bwMode="gray">
                  <a:xfrm flipV="1">
                    <a:off x="11426759" y="3442737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21" name="Ellipse 520"/>
                  <p:cNvSpPr/>
                  <p:nvPr/>
                </p:nvSpPr>
                <p:spPr bwMode="gray">
                  <a:xfrm flipV="1">
                    <a:off x="10869720" y="326858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22" name="Ellipse 521"/>
                  <p:cNvSpPr/>
                  <p:nvPr/>
                </p:nvSpPr>
                <p:spPr bwMode="gray">
                  <a:xfrm flipV="1">
                    <a:off x="10869720" y="3092881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23" name="Ellipse 522"/>
                  <p:cNvSpPr/>
                  <p:nvPr/>
                </p:nvSpPr>
                <p:spPr bwMode="gray">
                  <a:xfrm flipV="1">
                    <a:off x="10504147" y="3092881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24" name="Ellipse 523"/>
                  <p:cNvSpPr/>
                  <p:nvPr/>
                </p:nvSpPr>
                <p:spPr bwMode="gray">
                  <a:xfrm flipV="1">
                    <a:off x="10686352" y="3092881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25" name="Ellipse 524"/>
                  <p:cNvSpPr/>
                  <p:nvPr/>
                </p:nvSpPr>
                <p:spPr bwMode="gray">
                  <a:xfrm flipV="1">
                    <a:off x="10686352" y="2217067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26" name="Ellipse 525"/>
                  <p:cNvSpPr/>
                  <p:nvPr/>
                </p:nvSpPr>
                <p:spPr bwMode="gray">
                  <a:xfrm flipV="1">
                    <a:off x="10516526" y="2404173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27" name="Ellipse 526"/>
                  <p:cNvSpPr/>
                  <p:nvPr/>
                </p:nvSpPr>
                <p:spPr bwMode="gray">
                  <a:xfrm flipV="1">
                    <a:off x="10312523" y="2217067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28" name="Ellipse 527"/>
                  <p:cNvSpPr/>
                  <p:nvPr/>
                </p:nvSpPr>
                <p:spPr bwMode="gray">
                  <a:xfrm flipV="1">
                    <a:off x="10312523" y="239244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29" name="Ellipse 528"/>
                  <p:cNvSpPr/>
                  <p:nvPr/>
                </p:nvSpPr>
                <p:spPr bwMode="gray">
                  <a:xfrm flipV="1">
                    <a:off x="10312523" y="3092881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30" name="Ellipse 529"/>
                  <p:cNvSpPr/>
                  <p:nvPr/>
                </p:nvSpPr>
                <p:spPr bwMode="gray">
                  <a:xfrm flipV="1">
                    <a:off x="10312523" y="3616352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31" name="Ellipse 530"/>
                  <p:cNvSpPr/>
                  <p:nvPr/>
                </p:nvSpPr>
                <p:spPr bwMode="gray">
                  <a:xfrm flipV="1">
                    <a:off x="10312523" y="379082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32" name="Ellipse 531"/>
                  <p:cNvSpPr/>
                  <p:nvPr/>
                </p:nvSpPr>
                <p:spPr bwMode="gray">
                  <a:xfrm flipV="1">
                    <a:off x="10504147" y="379082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33" name="Ellipse 532"/>
                  <p:cNvSpPr/>
                  <p:nvPr/>
                </p:nvSpPr>
                <p:spPr bwMode="gray">
                  <a:xfrm flipV="1">
                    <a:off x="10869720" y="3616352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34" name="Ellipse 533"/>
                  <p:cNvSpPr/>
                  <p:nvPr/>
                </p:nvSpPr>
                <p:spPr bwMode="gray">
                  <a:xfrm flipV="1">
                    <a:off x="10139588" y="3962714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35" name="Ellipse 534"/>
                  <p:cNvSpPr/>
                  <p:nvPr/>
                </p:nvSpPr>
                <p:spPr bwMode="gray">
                  <a:xfrm flipV="1">
                    <a:off x="10139588" y="3616352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36" name="Ellipse 535"/>
                  <p:cNvSpPr/>
                  <p:nvPr/>
                </p:nvSpPr>
                <p:spPr bwMode="gray">
                  <a:xfrm flipV="1">
                    <a:off x="10139588" y="3442737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37" name="Ellipse 536"/>
                  <p:cNvSpPr/>
                  <p:nvPr/>
                </p:nvSpPr>
                <p:spPr bwMode="gray">
                  <a:xfrm flipV="1">
                    <a:off x="10139588" y="326858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38" name="Ellipse 537"/>
                  <p:cNvSpPr/>
                  <p:nvPr/>
                </p:nvSpPr>
                <p:spPr bwMode="gray">
                  <a:xfrm flipV="1">
                    <a:off x="10139588" y="3092881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39" name="Ellipse 538"/>
                  <p:cNvSpPr/>
                  <p:nvPr/>
                </p:nvSpPr>
                <p:spPr bwMode="gray">
                  <a:xfrm flipV="1">
                    <a:off x="10139588" y="291968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40" name="Ellipse 539"/>
                  <p:cNvSpPr/>
                  <p:nvPr/>
                </p:nvSpPr>
                <p:spPr bwMode="gray">
                  <a:xfrm flipV="1">
                    <a:off x="10139588" y="274349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41" name="Ellipse 540"/>
                  <p:cNvSpPr/>
                  <p:nvPr/>
                </p:nvSpPr>
                <p:spPr bwMode="gray">
                  <a:xfrm flipV="1">
                    <a:off x="10139588" y="2217067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42" name="Ellipse 541"/>
                  <p:cNvSpPr/>
                  <p:nvPr/>
                </p:nvSpPr>
                <p:spPr bwMode="gray">
                  <a:xfrm flipV="1">
                    <a:off x="9949172" y="291968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43" name="Ellipse 542"/>
                  <p:cNvSpPr/>
                  <p:nvPr/>
                </p:nvSpPr>
                <p:spPr bwMode="gray">
                  <a:xfrm flipV="1">
                    <a:off x="9949172" y="3442737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44" name="Ellipse 543"/>
                  <p:cNvSpPr/>
                  <p:nvPr/>
                </p:nvSpPr>
                <p:spPr bwMode="gray">
                  <a:xfrm flipV="1">
                    <a:off x="9949172" y="326858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45" name="Ellipse 544"/>
                  <p:cNvSpPr/>
                  <p:nvPr/>
                </p:nvSpPr>
                <p:spPr bwMode="gray">
                  <a:xfrm flipV="1">
                    <a:off x="9764740" y="3962714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46" name="Ellipse 545"/>
                  <p:cNvSpPr/>
                  <p:nvPr/>
                </p:nvSpPr>
                <p:spPr bwMode="gray">
                  <a:xfrm flipV="1">
                    <a:off x="9579694" y="3790826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47" name="Ellipse 546"/>
                  <p:cNvSpPr/>
                  <p:nvPr/>
                </p:nvSpPr>
                <p:spPr bwMode="gray">
                  <a:xfrm flipV="1">
                    <a:off x="9764740" y="3616352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48" name="Ellipse 547"/>
                  <p:cNvSpPr/>
                  <p:nvPr/>
                </p:nvSpPr>
                <p:spPr bwMode="gray">
                  <a:xfrm flipV="1">
                    <a:off x="9764740" y="3092881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49" name="Ellipse 548"/>
                  <p:cNvSpPr/>
                  <p:nvPr/>
                </p:nvSpPr>
                <p:spPr bwMode="gray">
                  <a:xfrm flipV="1">
                    <a:off x="9764740" y="2743496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0" name="Ellipse 549"/>
                  <p:cNvSpPr/>
                  <p:nvPr/>
                </p:nvSpPr>
                <p:spPr bwMode="gray">
                  <a:xfrm flipV="1">
                    <a:off x="9764740" y="256579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1" name="Ellipse 550"/>
                  <p:cNvSpPr/>
                  <p:nvPr/>
                </p:nvSpPr>
                <p:spPr bwMode="gray">
                  <a:xfrm flipV="1">
                    <a:off x="9579694" y="256579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2" name="Ellipse 551"/>
                  <p:cNvSpPr/>
                  <p:nvPr/>
                </p:nvSpPr>
                <p:spPr bwMode="gray">
                  <a:xfrm flipV="1">
                    <a:off x="9579694" y="274349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3" name="Ellipse 552"/>
                  <p:cNvSpPr/>
                  <p:nvPr/>
                </p:nvSpPr>
                <p:spPr bwMode="gray">
                  <a:xfrm flipV="1">
                    <a:off x="9579694" y="291968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4" name="Ellipse 553"/>
                  <p:cNvSpPr/>
                  <p:nvPr/>
                </p:nvSpPr>
                <p:spPr bwMode="gray">
                  <a:xfrm flipV="1">
                    <a:off x="9579694" y="3092881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5" name="Ellipse 554"/>
                  <p:cNvSpPr/>
                  <p:nvPr/>
                </p:nvSpPr>
                <p:spPr bwMode="gray">
                  <a:xfrm flipV="1">
                    <a:off x="9579694" y="3616352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6" name="Ellipse 555"/>
                  <p:cNvSpPr/>
                  <p:nvPr/>
                </p:nvSpPr>
                <p:spPr bwMode="gray">
                  <a:xfrm flipV="1">
                    <a:off x="9211834" y="256579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7" name="Ellipse 556"/>
                  <p:cNvSpPr/>
                  <p:nvPr/>
                </p:nvSpPr>
                <p:spPr bwMode="gray">
                  <a:xfrm flipV="1">
                    <a:off x="9211834" y="274349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8" name="Ellipse 557"/>
                  <p:cNvSpPr/>
                  <p:nvPr/>
                </p:nvSpPr>
                <p:spPr bwMode="gray">
                  <a:xfrm flipV="1">
                    <a:off x="8661464" y="3442737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9" name="Ellipse 558"/>
                  <p:cNvSpPr/>
                  <p:nvPr/>
                </p:nvSpPr>
                <p:spPr bwMode="gray">
                  <a:xfrm flipV="1">
                    <a:off x="8844932" y="3442737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60" name="Ellipse 559"/>
                  <p:cNvSpPr/>
                  <p:nvPr/>
                </p:nvSpPr>
                <p:spPr bwMode="gray">
                  <a:xfrm flipV="1">
                    <a:off x="8478137" y="3442737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61" name="Ellipse 560"/>
                  <p:cNvSpPr/>
                  <p:nvPr/>
                </p:nvSpPr>
                <p:spPr bwMode="gray">
                  <a:xfrm flipV="1">
                    <a:off x="8294395" y="3616352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62" name="Ellipse 561"/>
                  <p:cNvSpPr/>
                  <p:nvPr/>
                </p:nvSpPr>
                <p:spPr bwMode="gray">
                  <a:xfrm flipV="1">
                    <a:off x="7740877" y="256579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63" name="Ellipse 562"/>
                  <p:cNvSpPr/>
                  <p:nvPr/>
                </p:nvSpPr>
                <p:spPr bwMode="gray">
                  <a:xfrm flipV="1">
                    <a:off x="7740877" y="274349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64" name="Ellipse 563"/>
                  <p:cNvSpPr/>
                  <p:nvPr/>
                </p:nvSpPr>
                <p:spPr bwMode="gray">
                  <a:xfrm flipV="1">
                    <a:off x="7740877" y="3616352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65" name="Ellipse 564"/>
                  <p:cNvSpPr/>
                  <p:nvPr/>
                </p:nvSpPr>
                <p:spPr bwMode="gray">
                  <a:xfrm flipV="1">
                    <a:off x="7932685" y="3616352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66" name="Ellipse 565"/>
                  <p:cNvSpPr/>
                  <p:nvPr/>
                </p:nvSpPr>
                <p:spPr bwMode="gray">
                  <a:xfrm flipV="1">
                    <a:off x="7556733" y="3616352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67" name="Ellipse 566"/>
                  <p:cNvSpPr/>
                  <p:nvPr/>
                </p:nvSpPr>
                <p:spPr bwMode="gray">
                  <a:xfrm flipV="1">
                    <a:off x="7556733" y="3442737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68" name="Ellipse 567"/>
                  <p:cNvSpPr/>
                  <p:nvPr/>
                </p:nvSpPr>
                <p:spPr bwMode="gray">
                  <a:xfrm flipV="1">
                    <a:off x="7368896" y="256579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69" name="Ellipse 568"/>
                  <p:cNvSpPr/>
                  <p:nvPr/>
                </p:nvSpPr>
                <p:spPr bwMode="gray">
                  <a:xfrm flipV="1">
                    <a:off x="7192009" y="256579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70" name="Ellipse 569"/>
                  <p:cNvSpPr/>
                  <p:nvPr/>
                </p:nvSpPr>
                <p:spPr bwMode="gray">
                  <a:xfrm flipV="1">
                    <a:off x="7192009" y="291968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71" name="Ellipse 570"/>
                  <p:cNvSpPr/>
                  <p:nvPr/>
                </p:nvSpPr>
                <p:spPr bwMode="gray">
                  <a:xfrm flipV="1">
                    <a:off x="7192009" y="3616352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72" name="Ellipse 571"/>
                  <p:cNvSpPr/>
                  <p:nvPr/>
                </p:nvSpPr>
                <p:spPr bwMode="gray">
                  <a:xfrm flipV="1">
                    <a:off x="7008583" y="3616352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73" name="Ellipse 572"/>
                  <p:cNvSpPr/>
                  <p:nvPr/>
                </p:nvSpPr>
                <p:spPr bwMode="gray">
                  <a:xfrm flipV="1">
                    <a:off x="7008583" y="379082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74" name="Ellipse 573"/>
                  <p:cNvSpPr/>
                  <p:nvPr/>
                </p:nvSpPr>
                <p:spPr bwMode="gray">
                  <a:xfrm flipV="1">
                    <a:off x="7008583" y="3962714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75" name="Ellipse 574"/>
                  <p:cNvSpPr/>
                  <p:nvPr/>
                </p:nvSpPr>
                <p:spPr bwMode="gray">
                  <a:xfrm flipV="1">
                    <a:off x="7008583" y="3092881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76" name="Ellipse 575"/>
                  <p:cNvSpPr/>
                  <p:nvPr/>
                </p:nvSpPr>
                <p:spPr bwMode="gray">
                  <a:xfrm flipV="1">
                    <a:off x="7008583" y="274349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77" name="Ellipse 576"/>
                  <p:cNvSpPr/>
                  <p:nvPr/>
                </p:nvSpPr>
                <p:spPr bwMode="gray">
                  <a:xfrm flipV="1">
                    <a:off x="7008583" y="256579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78" name="Ellipse 577"/>
                  <p:cNvSpPr/>
                  <p:nvPr/>
                </p:nvSpPr>
                <p:spPr bwMode="gray">
                  <a:xfrm flipV="1">
                    <a:off x="7008583" y="239244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79" name="Ellipse 578"/>
                  <p:cNvSpPr/>
                  <p:nvPr/>
                </p:nvSpPr>
                <p:spPr bwMode="gray">
                  <a:xfrm flipV="1">
                    <a:off x="7008583" y="2155027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80" name="Ellipse 579"/>
                  <p:cNvSpPr/>
                  <p:nvPr/>
                </p:nvSpPr>
                <p:spPr bwMode="gray">
                  <a:xfrm flipV="1">
                    <a:off x="6821456" y="239244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81" name="Ellipse 580"/>
                  <p:cNvSpPr/>
                  <p:nvPr/>
                </p:nvSpPr>
                <p:spPr bwMode="gray">
                  <a:xfrm flipV="1">
                    <a:off x="6821456" y="2155027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82" name="Ellipse 581"/>
                  <p:cNvSpPr/>
                  <p:nvPr/>
                </p:nvSpPr>
                <p:spPr bwMode="gray">
                  <a:xfrm flipV="1">
                    <a:off x="6635831" y="239244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83" name="Ellipse 582"/>
                  <p:cNvSpPr/>
                  <p:nvPr/>
                </p:nvSpPr>
                <p:spPr bwMode="gray">
                  <a:xfrm flipV="1">
                    <a:off x="6821456" y="3092881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84" name="Ellipse 583"/>
                  <p:cNvSpPr/>
                  <p:nvPr/>
                </p:nvSpPr>
                <p:spPr bwMode="gray">
                  <a:xfrm flipV="1">
                    <a:off x="6635831" y="3442737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85" name="Ellipse 584"/>
                  <p:cNvSpPr/>
                  <p:nvPr/>
                </p:nvSpPr>
                <p:spPr bwMode="gray">
                  <a:xfrm flipV="1">
                    <a:off x="6635831" y="3616352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86" name="Ellipse 585"/>
                  <p:cNvSpPr/>
                  <p:nvPr/>
                </p:nvSpPr>
                <p:spPr bwMode="gray">
                  <a:xfrm flipV="1">
                    <a:off x="6635831" y="326858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87" name="Ellipse 586"/>
                  <p:cNvSpPr/>
                  <p:nvPr/>
                </p:nvSpPr>
                <p:spPr bwMode="gray">
                  <a:xfrm flipV="1">
                    <a:off x="6635831" y="3092881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88" name="Ellipse 587"/>
                  <p:cNvSpPr/>
                  <p:nvPr/>
                </p:nvSpPr>
                <p:spPr bwMode="gray">
                  <a:xfrm flipV="1">
                    <a:off x="6635831" y="256579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89" name="Ellipse 588"/>
                  <p:cNvSpPr/>
                  <p:nvPr/>
                </p:nvSpPr>
                <p:spPr bwMode="gray">
                  <a:xfrm flipV="1">
                    <a:off x="6454294" y="256579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90" name="Ellipse 589"/>
                  <p:cNvSpPr/>
                  <p:nvPr/>
                </p:nvSpPr>
                <p:spPr bwMode="gray">
                  <a:xfrm flipV="1">
                    <a:off x="6454294" y="2743496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91" name="Ellipse 590"/>
                  <p:cNvSpPr/>
                  <p:nvPr/>
                </p:nvSpPr>
                <p:spPr bwMode="gray">
                  <a:xfrm flipV="1">
                    <a:off x="6454294" y="291968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92" name="Ellipse 591"/>
                  <p:cNvSpPr/>
                  <p:nvPr/>
                </p:nvSpPr>
                <p:spPr bwMode="gray">
                  <a:xfrm flipV="1">
                    <a:off x="6454294" y="326858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93" name="Ellipse 592"/>
                  <p:cNvSpPr/>
                  <p:nvPr/>
                </p:nvSpPr>
                <p:spPr bwMode="gray">
                  <a:xfrm flipV="1">
                    <a:off x="6454294" y="3442737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94" name="Ellipse 593"/>
                  <p:cNvSpPr/>
                  <p:nvPr/>
                </p:nvSpPr>
                <p:spPr bwMode="gray">
                  <a:xfrm flipV="1">
                    <a:off x="6454294" y="3616352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95" name="Ellipse 594"/>
                  <p:cNvSpPr/>
                  <p:nvPr/>
                </p:nvSpPr>
                <p:spPr bwMode="gray">
                  <a:xfrm flipV="1">
                    <a:off x="6268628" y="326858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96" name="Ellipse 595"/>
                  <p:cNvSpPr/>
                  <p:nvPr/>
                </p:nvSpPr>
                <p:spPr bwMode="gray">
                  <a:xfrm flipV="1">
                    <a:off x="6268628" y="3442737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97" name="Ellipse 596"/>
                  <p:cNvSpPr/>
                  <p:nvPr/>
                </p:nvSpPr>
                <p:spPr bwMode="gray">
                  <a:xfrm flipV="1">
                    <a:off x="6268628" y="3616352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98" name="Ellipse 597"/>
                  <p:cNvSpPr/>
                  <p:nvPr/>
                </p:nvSpPr>
                <p:spPr bwMode="gray">
                  <a:xfrm flipV="1">
                    <a:off x="6268628" y="3790826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99" name="Ellipse 598"/>
                  <p:cNvSpPr/>
                  <p:nvPr/>
                </p:nvSpPr>
                <p:spPr bwMode="gray">
                  <a:xfrm flipV="1">
                    <a:off x="6268628" y="291968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00" name="Ellipse 599"/>
                  <p:cNvSpPr/>
                  <p:nvPr/>
                </p:nvSpPr>
                <p:spPr bwMode="gray">
                  <a:xfrm flipV="1">
                    <a:off x="6268628" y="256579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01" name="Ellipse 600"/>
                  <p:cNvSpPr/>
                  <p:nvPr/>
                </p:nvSpPr>
                <p:spPr bwMode="gray">
                  <a:xfrm flipV="1">
                    <a:off x="6268628" y="239244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02" name="Ellipse 601"/>
                  <p:cNvSpPr/>
                  <p:nvPr/>
                </p:nvSpPr>
                <p:spPr bwMode="gray">
                  <a:xfrm flipV="1">
                    <a:off x="6084911" y="256579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03" name="Ellipse 602"/>
                  <p:cNvSpPr/>
                  <p:nvPr/>
                </p:nvSpPr>
                <p:spPr bwMode="gray">
                  <a:xfrm flipV="1">
                    <a:off x="6084911" y="239244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04" name="Ellipse 603"/>
                  <p:cNvSpPr/>
                  <p:nvPr/>
                </p:nvSpPr>
                <p:spPr bwMode="gray">
                  <a:xfrm flipV="1">
                    <a:off x="6454294" y="3092881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05" name="Ellipse 604"/>
                  <p:cNvSpPr/>
                  <p:nvPr/>
                </p:nvSpPr>
                <p:spPr bwMode="gray">
                  <a:xfrm flipV="1">
                    <a:off x="6084911" y="2919686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06" name="Ellipse 605"/>
                  <p:cNvSpPr/>
                  <p:nvPr/>
                </p:nvSpPr>
                <p:spPr bwMode="gray">
                  <a:xfrm flipV="1">
                    <a:off x="6084911" y="326858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07" name="Ellipse 606"/>
                  <p:cNvSpPr/>
                  <p:nvPr/>
                </p:nvSpPr>
                <p:spPr bwMode="gray">
                  <a:xfrm flipV="1">
                    <a:off x="6084911" y="3442737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08" name="Ellipse 607"/>
                  <p:cNvSpPr/>
                  <p:nvPr/>
                </p:nvSpPr>
                <p:spPr bwMode="gray">
                  <a:xfrm flipV="1">
                    <a:off x="6084911" y="3616352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09" name="Ellipse 608"/>
                  <p:cNvSpPr/>
                  <p:nvPr/>
                </p:nvSpPr>
                <p:spPr bwMode="gray">
                  <a:xfrm flipV="1">
                    <a:off x="6084911" y="3092881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10" name="Ellipse 609"/>
                  <p:cNvSpPr/>
                  <p:nvPr/>
                </p:nvSpPr>
                <p:spPr bwMode="gray">
                  <a:xfrm flipV="1">
                    <a:off x="6084911" y="3790826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11" name="Ellipse 610"/>
                  <p:cNvSpPr/>
                  <p:nvPr/>
                </p:nvSpPr>
                <p:spPr bwMode="gray">
                  <a:xfrm flipV="1">
                    <a:off x="5908734" y="3790826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12" name="Ellipse 611"/>
                  <p:cNvSpPr/>
                  <p:nvPr/>
                </p:nvSpPr>
                <p:spPr bwMode="gray">
                  <a:xfrm flipV="1">
                    <a:off x="5908734" y="3962714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13" name="Ellipse 612"/>
                  <p:cNvSpPr/>
                  <p:nvPr/>
                </p:nvSpPr>
                <p:spPr bwMode="gray">
                  <a:xfrm flipV="1">
                    <a:off x="5908734" y="3268585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14" name="Ellipse 613"/>
                  <p:cNvSpPr/>
                  <p:nvPr/>
                </p:nvSpPr>
                <p:spPr bwMode="gray">
                  <a:xfrm flipV="1">
                    <a:off x="5908734" y="3442737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15" name="Ellipse 614"/>
                  <p:cNvSpPr/>
                  <p:nvPr/>
                </p:nvSpPr>
                <p:spPr bwMode="gray">
                  <a:xfrm flipV="1">
                    <a:off x="5908734" y="3092881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16" name="Ellipse 615"/>
                  <p:cNvSpPr/>
                  <p:nvPr/>
                </p:nvSpPr>
                <p:spPr bwMode="gray">
                  <a:xfrm flipV="1">
                    <a:off x="5908734" y="274349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17" name="Ellipse 616"/>
                  <p:cNvSpPr/>
                  <p:nvPr/>
                </p:nvSpPr>
                <p:spPr bwMode="gray">
                  <a:xfrm flipV="1">
                    <a:off x="5908734" y="256579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18" name="Ellipse 617"/>
                  <p:cNvSpPr/>
                  <p:nvPr/>
                </p:nvSpPr>
                <p:spPr bwMode="gray">
                  <a:xfrm flipV="1">
                    <a:off x="5713657" y="2565795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19" name="Ellipse 618"/>
                  <p:cNvSpPr/>
                  <p:nvPr/>
                </p:nvSpPr>
                <p:spPr bwMode="gray">
                  <a:xfrm flipV="1">
                    <a:off x="5713657" y="274349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20" name="Ellipse 619"/>
                  <p:cNvSpPr/>
                  <p:nvPr/>
                </p:nvSpPr>
                <p:spPr bwMode="gray">
                  <a:xfrm flipV="1">
                    <a:off x="5713657" y="291968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21" name="Ellipse 620"/>
                  <p:cNvSpPr/>
                  <p:nvPr/>
                </p:nvSpPr>
                <p:spPr bwMode="gray">
                  <a:xfrm flipV="1">
                    <a:off x="5713657" y="3092881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22" name="Ellipse 621"/>
                  <p:cNvSpPr/>
                  <p:nvPr/>
                </p:nvSpPr>
                <p:spPr bwMode="gray">
                  <a:xfrm flipV="1">
                    <a:off x="5713657" y="3268585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23" name="Ellipse 622"/>
                  <p:cNvSpPr/>
                  <p:nvPr/>
                </p:nvSpPr>
                <p:spPr bwMode="gray">
                  <a:xfrm flipV="1">
                    <a:off x="5537144" y="2565795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24" name="Ellipse 623"/>
                  <p:cNvSpPr/>
                  <p:nvPr/>
                </p:nvSpPr>
                <p:spPr bwMode="gray">
                  <a:xfrm flipV="1">
                    <a:off x="5346807" y="256579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25" name="Ellipse 624"/>
                  <p:cNvSpPr/>
                  <p:nvPr/>
                </p:nvSpPr>
                <p:spPr bwMode="gray">
                  <a:xfrm flipV="1">
                    <a:off x="5346807" y="291968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26" name="Ellipse 625"/>
                  <p:cNvSpPr/>
                  <p:nvPr/>
                </p:nvSpPr>
                <p:spPr bwMode="gray">
                  <a:xfrm flipV="1">
                    <a:off x="5346807" y="326858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27" name="Ellipse 626"/>
                  <p:cNvSpPr/>
                  <p:nvPr/>
                </p:nvSpPr>
                <p:spPr bwMode="gray">
                  <a:xfrm flipV="1">
                    <a:off x="5346807" y="3442737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28" name="Ellipse 627"/>
                  <p:cNvSpPr/>
                  <p:nvPr/>
                </p:nvSpPr>
                <p:spPr bwMode="gray">
                  <a:xfrm flipV="1">
                    <a:off x="5537144" y="326858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29" name="Ellipse 628"/>
                  <p:cNvSpPr/>
                  <p:nvPr/>
                </p:nvSpPr>
                <p:spPr bwMode="gray">
                  <a:xfrm flipV="1">
                    <a:off x="5537144" y="3616352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30" name="Ellipse 629"/>
                  <p:cNvSpPr/>
                  <p:nvPr/>
                </p:nvSpPr>
                <p:spPr bwMode="gray">
                  <a:xfrm flipV="1">
                    <a:off x="5537144" y="3790826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31" name="Ellipse 630"/>
                  <p:cNvSpPr/>
                  <p:nvPr/>
                </p:nvSpPr>
                <p:spPr bwMode="gray">
                  <a:xfrm flipV="1">
                    <a:off x="5160106" y="2919686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accent5"/>
                      </a:solidFill>
                    </a:endParaRPr>
                  </a:p>
                </p:txBody>
              </p:sp>
              <p:sp>
                <p:nvSpPr>
                  <p:cNvPr id="632" name="Ellipse 631"/>
                  <p:cNvSpPr/>
                  <p:nvPr/>
                </p:nvSpPr>
                <p:spPr bwMode="gray">
                  <a:xfrm flipV="1">
                    <a:off x="5160106" y="3268585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accent5"/>
                      </a:solidFill>
                    </a:endParaRPr>
                  </a:p>
                </p:txBody>
              </p:sp>
              <p:sp>
                <p:nvSpPr>
                  <p:cNvPr id="633" name="Ellipse 632"/>
                  <p:cNvSpPr/>
                  <p:nvPr/>
                </p:nvSpPr>
                <p:spPr bwMode="gray">
                  <a:xfrm flipV="1">
                    <a:off x="5160106" y="3442737"/>
                    <a:ext cx="74277" cy="70377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accent5"/>
                      </a:solidFill>
                    </a:endParaRPr>
                  </a:p>
                </p:txBody>
              </p:sp>
              <p:sp>
                <p:nvSpPr>
                  <p:cNvPr id="634" name="Ellipse 633"/>
                  <p:cNvSpPr/>
                  <p:nvPr/>
                </p:nvSpPr>
                <p:spPr bwMode="gray">
                  <a:xfrm flipV="1">
                    <a:off x="5160106" y="3092881"/>
                    <a:ext cx="74277" cy="70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accent5"/>
                      </a:solidFill>
                    </a:endParaRPr>
                  </a:p>
                </p:txBody>
              </p:sp>
              <p:sp>
                <p:nvSpPr>
                  <p:cNvPr id="635" name="Ellipse 634"/>
                  <p:cNvSpPr/>
                  <p:nvPr/>
                </p:nvSpPr>
                <p:spPr bwMode="gray">
                  <a:xfrm flipV="1">
                    <a:off x="12016594" y="3280168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36" name="Ellipse 635"/>
                  <p:cNvSpPr/>
                  <p:nvPr/>
                </p:nvSpPr>
                <p:spPr bwMode="gray">
                  <a:xfrm flipV="1">
                    <a:off x="12016594" y="2931267"/>
                    <a:ext cx="49519" cy="46919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2700">
                    <a:noFill/>
                  </a:ln>
                  <a:effectLst/>
                  <a:extLst/>
                </p:spPr>
                <p:txBody>
                  <a:bodyPr wrap="square" lIns="108000" tIns="54000" rIns="108000" bIns="54000" numCol="1" spcCol="72000" rtlCol="0" anchor="ctr"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Font typeface="Wingdings" charset="0"/>
                      <a:buNone/>
                    </a:pPr>
                    <a:endParaRPr lang="en-US" sz="1300" b="1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378" name="Freeform 6"/>
                <p:cNvSpPr>
                  <a:spLocks noChangeAspect="1" noEditPoints="1"/>
                </p:cNvSpPr>
                <p:nvPr/>
              </p:nvSpPr>
              <p:spPr bwMode="auto">
                <a:xfrm>
                  <a:off x="7354797" y="5622768"/>
                  <a:ext cx="355751" cy="378776"/>
                </a:xfrm>
                <a:custGeom>
                  <a:avLst/>
                  <a:gdLst>
                    <a:gd name="T0" fmla="*/ 0 w 2929"/>
                    <a:gd name="T1" fmla="*/ 2315 h 3118"/>
                    <a:gd name="T2" fmla="*/ 662 w 2929"/>
                    <a:gd name="T3" fmla="*/ 2315 h 3118"/>
                    <a:gd name="T4" fmla="*/ 662 w 2929"/>
                    <a:gd name="T5" fmla="*/ 2882 h 3118"/>
                    <a:gd name="T6" fmla="*/ 189 w 2929"/>
                    <a:gd name="T7" fmla="*/ 2882 h 3118"/>
                    <a:gd name="T8" fmla="*/ 0 w 2929"/>
                    <a:gd name="T9" fmla="*/ 2315 h 3118"/>
                    <a:gd name="T10" fmla="*/ 189 w 2929"/>
                    <a:gd name="T11" fmla="*/ 1843 h 3118"/>
                    <a:gd name="T12" fmla="*/ 662 w 2929"/>
                    <a:gd name="T13" fmla="*/ 1843 h 3118"/>
                    <a:gd name="T14" fmla="*/ 662 w 2929"/>
                    <a:gd name="T15" fmla="*/ 1276 h 3118"/>
                    <a:gd name="T16" fmla="*/ 0 w 2929"/>
                    <a:gd name="T17" fmla="*/ 1276 h 3118"/>
                    <a:gd name="T18" fmla="*/ 189 w 2929"/>
                    <a:gd name="T19" fmla="*/ 1843 h 3118"/>
                    <a:gd name="T20" fmla="*/ 189 w 2929"/>
                    <a:gd name="T21" fmla="*/ 756 h 3118"/>
                    <a:gd name="T22" fmla="*/ 662 w 2929"/>
                    <a:gd name="T23" fmla="*/ 756 h 3118"/>
                    <a:gd name="T24" fmla="*/ 662 w 2929"/>
                    <a:gd name="T25" fmla="*/ 189 h 3118"/>
                    <a:gd name="T26" fmla="*/ 0 w 2929"/>
                    <a:gd name="T27" fmla="*/ 189 h 3118"/>
                    <a:gd name="T28" fmla="*/ 189 w 2929"/>
                    <a:gd name="T29" fmla="*/ 756 h 3118"/>
                    <a:gd name="T30" fmla="*/ 2268 w 2929"/>
                    <a:gd name="T31" fmla="*/ 2882 h 3118"/>
                    <a:gd name="T32" fmla="*/ 2740 w 2929"/>
                    <a:gd name="T33" fmla="*/ 2882 h 3118"/>
                    <a:gd name="T34" fmla="*/ 2929 w 2929"/>
                    <a:gd name="T35" fmla="*/ 2315 h 3118"/>
                    <a:gd name="T36" fmla="*/ 2268 w 2929"/>
                    <a:gd name="T37" fmla="*/ 2315 h 3118"/>
                    <a:gd name="T38" fmla="*/ 2268 w 2929"/>
                    <a:gd name="T39" fmla="*/ 2882 h 3118"/>
                    <a:gd name="T40" fmla="*/ 2268 w 2929"/>
                    <a:gd name="T41" fmla="*/ 1843 h 3118"/>
                    <a:gd name="T42" fmla="*/ 2740 w 2929"/>
                    <a:gd name="T43" fmla="*/ 1843 h 3118"/>
                    <a:gd name="T44" fmla="*/ 2929 w 2929"/>
                    <a:gd name="T45" fmla="*/ 1276 h 3118"/>
                    <a:gd name="T46" fmla="*/ 2268 w 2929"/>
                    <a:gd name="T47" fmla="*/ 1276 h 3118"/>
                    <a:gd name="T48" fmla="*/ 2268 w 2929"/>
                    <a:gd name="T49" fmla="*/ 1843 h 3118"/>
                    <a:gd name="T50" fmla="*/ 2929 w 2929"/>
                    <a:gd name="T51" fmla="*/ 237 h 3118"/>
                    <a:gd name="T52" fmla="*/ 2268 w 2929"/>
                    <a:gd name="T53" fmla="*/ 237 h 3118"/>
                    <a:gd name="T54" fmla="*/ 2268 w 2929"/>
                    <a:gd name="T55" fmla="*/ 803 h 3118"/>
                    <a:gd name="T56" fmla="*/ 2740 w 2929"/>
                    <a:gd name="T57" fmla="*/ 803 h 3118"/>
                    <a:gd name="T58" fmla="*/ 2929 w 2929"/>
                    <a:gd name="T59" fmla="*/ 237 h 3118"/>
                    <a:gd name="T60" fmla="*/ 851 w 2929"/>
                    <a:gd name="T61" fmla="*/ 0 h 3118"/>
                    <a:gd name="T62" fmla="*/ 2079 w 2929"/>
                    <a:gd name="T63" fmla="*/ 0 h 3118"/>
                    <a:gd name="T64" fmla="*/ 2079 w 2929"/>
                    <a:gd name="T65" fmla="*/ 3118 h 3118"/>
                    <a:gd name="T66" fmla="*/ 851 w 2929"/>
                    <a:gd name="T67" fmla="*/ 3118 h 3118"/>
                    <a:gd name="T68" fmla="*/ 851 w 2929"/>
                    <a:gd name="T69" fmla="*/ 0 h 3118"/>
                    <a:gd name="T70" fmla="*/ 1181 w 2929"/>
                    <a:gd name="T71" fmla="*/ 523 h 3118"/>
                    <a:gd name="T72" fmla="*/ 1468 w 2929"/>
                    <a:gd name="T73" fmla="*/ 803 h 3118"/>
                    <a:gd name="T74" fmla="*/ 1748 w 2929"/>
                    <a:gd name="T75" fmla="*/ 516 h 3118"/>
                    <a:gd name="T76" fmla="*/ 1461 w 2929"/>
                    <a:gd name="T77" fmla="*/ 237 h 3118"/>
                    <a:gd name="T78" fmla="*/ 1181 w 2929"/>
                    <a:gd name="T79" fmla="*/ 523 h 3118"/>
                    <a:gd name="T80" fmla="*/ 1181 w 2929"/>
                    <a:gd name="T81" fmla="*/ 1563 h 3118"/>
                    <a:gd name="T82" fmla="*/ 1468 w 2929"/>
                    <a:gd name="T83" fmla="*/ 1843 h 3118"/>
                    <a:gd name="T84" fmla="*/ 1748 w 2929"/>
                    <a:gd name="T85" fmla="*/ 1556 h 3118"/>
                    <a:gd name="T86" fmla="*/ 1461 w 2929"/>
                    <a:gd name="T87" fmla="*/ 1276 h 3118"/>
                    <a:gd name="T88" fmla="*/ 1181 w 2929"/>
                    <a:gd name="T89" fmla="*/ 1563 h 3118"/>
                    <a:gd name="T90" fmla="*/ 1181 w 2929"/>
                    <a:gd name="T91" fmla="*/ 2602 h 3118"/>
                    <a:gd name="T92" fmla="*/ 1468 w 2929"/>
                    <a:gd name="T93" fmla="*/ 2882 h 3118"/>
                    <a:gd name="T94" fmla="*/ 1748 w 2929"/>
                    <a:gd name="T95" fmla="*/ 2595 h 3118"/>
                    <a:gd name="T96" fmla="*/ 1461 w 2929"/>
                    <a:gd name="T97" fmla="*/ 2315 h 3118"/>
                    <a:gd name="T98" fmla="*/ 1181 w 2929"/>
                    <a:gd name="T99" fmla="*/ 2602 h 3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929" h="3118">
                      <a:moveTo>
                        <a:pt x="0" y="2315"/>
                      </a:moveTo>
                      <a:lnTo>
                        <a:pt x="662" y="2315"/>
                      </a:lnTo>
                      <a:lnTo>
                        <a:pt x="662" y="2882"/>
                      </a:lnTo>
                      <a:lnTo>
                        <a:pt x="189" y="2882"/>
                      </a:lnTo>
                      <a:lnTo>
                        <a:pt x="0" y="2315"/>
                      </a:lnTo>
                      <a:close/>
                      <a:moveTo>
                        <a:pt x="189" y="1843"/>
                      </a:moveTo>
                      <a:lnTo>
                        <a:pt x="662" y="1843"/>
                      </a:lnTo>
                      <a:lnTo>
                        <a:pt x="662" y="1276"/>
                      </a:lnTo>
                      <a:lnTo>
                        <a:pt x="0" y="1276"/>
                      </a:lnTo>
                      <a:lnTo>
                        <a:pt x="189" y="1843"/>
                      </a:lnTo>
                      <a:close/>
                      <a:moveTo>
                        <a:pt x="189" y="756"/>
                      </a:moveTo>
                      <a:lnTo>
                        <a:pt x="662" y="756"/>
                      </a:lnTo>
                      <a:lnTo>
                        <a:pt x="662" y="189"/>
                      </a:lnTo>
                      <a:lnTo>
                        <a:pt x="0" y="189"/>
                      </a:lnTo>
                      <a:lnTo>
                        <a:pt x="189" y="756"/>
                      </a:lnTo>
                      <a:close/>
                      <a:moveTo>
                        <a:pt x="2268" y="2882"/>
                      </a:moveTo>
                      <a:lnTo>
                        <a:pt x="2740" y="2882"/>
                      </a:lnTo>
                      <a:lnTo>
                        <a:pt x="2929" y="2315"/>
                      </a:lnTo>
                      <a:lnTo>
                        <a:pt x="2268" y="2315"/>
                      </a:lnTo>
                      <a:lnTo>
                        <a:pt x="2268" y="2882"/>
                      </a:lnTo>
                      <a:close/>
                      <a:moveTo>
                        <a:pt x="2268" y="1843"/>
                      </a:moveTo>
                      <a:lnTo>
                        <a:pt x="2740" y="1843"/>
                      </a:lnTo>
                      <a:lnTo>
                        <a:pt x="2929" y="1276"/>
                      </a:lnTo>
                      <a:lnTo>
                        <a:pt x="2268" y="1276"/>
                      </a:lnTo>
                      <a:lnTo>
                        <a:pt x="2268" y="1843"/>
                      </a:lnTo>
                      <a:close/>
                      <a:moveTo>
                        <a:pt x="2929" y="237"/>
                      </a:moveTo>
                      <a:lnTo>
                        <a:pt x="2268" y="237"/>
                      </a:lnTo>
                      <a:lnTo>
                        <a:pt x="2268" y="803"/>
                      </a:lnTo>
                      <a:lnTo>
                        <a:pt x="2740" y="803"/>
                      </a:lnTo>
                      <a:lnTo>
                        <a:pt x="2929" y="237"/>
                      </a:lnTo>
                      <a:close/>
                      <a:moveTo>
                        <a:pt x="851" y="0"/>
                      </a:moveTo>
                      <a:lnTo>
                        <a:pt x="2079" y="0"/>
                      </a:lnTo>
                      <a:lnTo>
                        <a:pt x="2079" y="3118"/>
                      </a:lnTo>
                      <a:lnTo>
                        <a:pt x="851" y="3118"/>
                      </a:lnTo>
                      <a:lnTo>
                        <a:pt x="851" y="0"/>
                      </a:lnTo>
                      <a:close/>
                      <a:moveTo>
                        <a:pt x="1181" y="523"/>
                      </a:moveTo>
                      <a:cubicBezTo>
                        <a:pt x="1183" y="680"/>
                        <a:pt x="1312" y="805"/>
                        <a:pt x="1468" y="803"/>
                      </a:cubicBezTo>
                      <a:cubicBezTo>
                        <a:pt x="1625" y="801"/>
                        <a:pt x="1750" y="673"/>
                        <a:pt x="1748" y="516"/>
                      </a:cubicBezTo>
                      <a:cubicBezTo>
                        <a:pt x="1746" y="360"/>
                        <a:pt x="1618" y="235"/>
                        <a:pt x="1461" y="237"/>
                      </a:cubicBezTo>
                      <a:cubicBezTo>
                        <a:pt x="1305" y="238"/>
                        <a:pt x="1179" y="367"/>
                        <a:pt x="1181" y="523"/>
                      </a:cubicBezTo>
                      <a:close/>
                      <a:moveTo>
                        <a:pt x="1181" y="1563"/>
                      </a:moveTo>
                      <a:cubicBezTo>
                        <a:pt x="1183" y="1719"/>
                        <a:pt x="1312" y="1845"/>
                        <a:pt x="1468" y="1843"/>
                      </a:cubicBezTo>
                      <a:cubicBezTo>
                        <a:pt x="1625" y="1841"/>
                        <a:pt x="1750" y="1712"/>
                        <a:pt x="1748" y="1556"/>
                      </a:cubicBezTo>
                      <a:cubicBezTo>
                        <a:pt x="1746" y="1399"/>
                        <a:pt x="1618" y="1274"/>
                        <a:pt x="1461" y="1276"/>
                      </a:cubicBezTo>
                      <a:cubicBezTo>
                        <a:pt x="1305" y="1278"/>
                        <a:pt x="1179" y="1406"/>
                        <a:pt x="1181" y="1563"/>
                      </a:cubicBezTo>
                      <a:close/>
                      <a:moveTo>
                        <a:pt x="1181" y="2602"/>
                      </a:moveTo>
                      <a:cubicBezTo>
                        <a:pt x="1183" y="2759"/>
                        <a:pt x="1312" y="2884"/>
                        <a:pt x="1468" y="2882"/>
                      </a:cubicBezTo>
                      <a:cubicBezTo>
                        <a:pt x="1625" y="2880"/>
                        <a:pt x="1750" y="2752"/>
                        <a:pt x="1748" y="2595"/>
                      </a:cubicBezTo>
                      <a:cubicBezTo>
                        <a:pt x="1746" y="2439"/>
                        <a:pt x="1618" y="2313"/>
                        <a:pt x="1461" y="2315"/>
                      </a:cubicBezTo>
                      <a:cubicBezTo>
                        <a:pt x="1305" y="2317"/>
                        <a:pt x="1179" y="2446"/>
                        <a:pt x="1181" y="2602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79" name="Freeform 6"/>
                <p:cNvSpPr>
                  <a:spLocks noChangeAspect="1" noEditPoints="1"/>
                </p:cNvSpPr>
                <p:nvPr/>
              </p:nvSpPr>
              <p:spPr bwMode="auto">
                <a:xfrm>
                  <a:off x="4537627" y="5632928"/>
                  <a:ext cx="531357" cy="378776"/>
                </a:xfrm>
                <a:custGeom>
                  <a:avLst/>
                  <a:gdLst>
                    <a:gd name="T0" fmla="*/ 3023 w 4346"/>
                    <a:gd name="T1" fmla="*/ 0 h 2740"/>
                    <a:gd name="T2" fmla="*/ 3023 w 4346"/>
                    <a:gd name="T3" fmla="*/ 2079 h 2740"/>
                    <a:gd name="T4" fmla="*/ 3401 w 4346"/>
                    <a:gd name="T5" fmla="*/ 2079 h 2740"/>
                    <a:gd name="T6" fmla="*/ 3401 w 4346"/>
                    <a:gd name="T7" fmla="*/ 2268 h 2740"/>
                    <a:gd name="T8" fmla="*/ 2645 w 4346"/>
                    <a:gd name="T9" fmla="*/ 2268 h 2740"/>
                    <a:gd name="T10" fmla="*/ 2645 w 4346"/>
                    <a:gd name="T11" fmla="*/ 2079 h 2740"/>
                    <a:gd name="T12" fmla="*/ 2834 w 4346"/>
                    <a:gd name="T13" fmla="*/ 2079 h 2740"/>
                    <a:gd name="T14" fmla="*/ 2834 w 4346"/>
                    <a:gd name="T15" fmla="*/ 0 h 2740"/>
                    <a:gd name="T16" fmla="*/ 1511 w 4346"/>
                    <a:gd name="T17" fmla="*/ 0 h 2740"/>
                    <a:gd name="T18" fmla="*/ 1511 w 4346"/>
                    <a:gd name="T19" fmla="*/ 2079 h 2740"/>
                    <a:gd name="T20" fmla="*/ 1700 w 4346"/>
                    <a:gd name="T21" fmla="*/ 2079 h 2740"/>
                    <a:gd name="T22" fmla="*/ 1700 w 4346"/>
                    <a:gd name="T23" fmla="*/ 2268 h 2740"/>
                    <a:gd name="T24" fmla="*/ 850 w 4346"/>
                    <a:gd name="T25" fmla="*/ 2268 h 2740"/>
                    <a:gd name="T26" fmla="*/ 850 w 4346"/>
                    <a:gd name="T27" fmla="*/ 2079 h 2740"/>
                    <a:gd name="T28" fmla="*/ 1322 w 4346"/>
                    <a:gd name="T29" fmla="*/ 2079 h 2740"/>
                    <a:gd name="T30" fmla="*/ 1322 w 4346"/>
                    <a:gd name="T31" fmla="*/ 0 h 2740"/>
                    <a:gd name="T32" fmla="*/ 0 w 4346"/>
                    <a:gd name="T33" fmla="*/ 0 h 2740"/>
                    <a:gd name="T34" fmla="*/ 0 w 4346"/>
                    <a:gd name="T35" fmla="*/ 2079 h 2740"/>
                    <a:gd name="T36" fmla="*/ 661 w 4346"/>
                    <a:gd name="T37" fmla="*/ 2079 h 2740"/>
                    <a:gd name="T38" fmla="*/ 661 w 4346"/>
                    <a:gd name="T39" fmla="*/ 2457 h 2740"/>
                    <a:gd name="T40" fmla="*/ 1889 w 4346"/>
                    <a:gd name="T41" fmla="*/ 2457 h 2740"/>
                    <a:gd name="T42" fmla="*/ 1889 w 4346"/>
                    <a:gd name="T43" fmla="*/ 2079 h 2740"/>
                    <a:gd name="T44" fmla="*/ 2078 w 4346"/>
                    <a:gd name="T45" fmla="*/ 2079 h 2740"/>
                    <a:gd name="T46" fmla="*/ 2078 w 4346"/>
                    <a:gd name="T47" fmla="*/ 2740 h 2740"/>
                    <a:gd name="T48" fmla="*/ 2267 w 4346"/>
                    <a:gd name="T49" fmla="*/ 2740 h 2740"/>
                    <a:gd name="T50" fmla="*/ 2267 w 4346"/>
                    <a:gd name="T51" fmla="*/ 2079 h 2740"/>
                    <a:gd name="T52" fmla="*/ 2456 w 4346"/>
                    <a:gd name="T53" fmla="*/ 2079 h 2740"/>
                    <a:gd name="T54" fmla="*/ 2456 w 4346"/>
                    <a:gd name="T55" fmla="*/ 2457 h 2740"/>
                    <a:gd name="T56" fmla="*/ 3590 w 4346"/>
                    <a:gd name="T57" fmla="*/ 2457 h 2740"/>
                    <a:gd name="T58" fmla="*/ 3590 w 4346"/>
                    <a:gd name="T59" fmla="*/ 2079 h 2740"/>
                    <a:gd name="T60" fmla="*/ 4346 w 4346"/>
                    <a:gd name="T61" fmla="*/ 2079 h 2740"/>
                    <a:gd name="T62" fmla="*/ 4346 w 4346"/>
                    <a:gd name="T63" fmla="*/ 0 h 2740"/>
                    <a:gd name="T64" fmla="*/ 3023 w 4346"/>
                    <a:gd name="T65" fmla="*/ 0 h 2740"/>
                    <a:gd name="T66" fmla="*/ 332 w 4346"/>
                    <a:gd name="T67" fmla="*/ 1892 h 2740"/>
                    <a:gd name="T68" fmla="*/ 186 w 4346"/>
                    <a:gd name="T69" fmla="*/ 1750 h 2740"/>
                    <a:gd name="T70" fmla="*/ 329 w 4346"/>
                    <a:gd name="T71" fmla="*/ 1604 h 2740"/>
                    <a:gd name="T72" fmla="*/ 474 w 4346"/>
                    <a:gd name="T73" fmla="*/ 1747 h 2740"/>
                    <a:gd name="T74" fmla="*/ 332 w 4346"/>
                    <a:gd name="T75" fmla="*/ 1892 h 2740"/>
                    <a:gd name="T76" fmla="*/ 567 w 4346"/>
                    <a:gd name="T77" fmla="*/ 381 h 2740"/>
                    <a:gd name="T78" fmla="*/ 567 w 4346"/>
                    <a:gd name="T79" fmla="*/ 187 h 2740"/>
                    <a:gd name="T80" fmla="*/ 1134 w 4346"/>
                    <a:gd name="T81" fmla="*/ 187 h 2740"/>
                    <a:gd name="T82" fmla="*/ 1134 w 4346"/>
                    <a:gd name="T83" fmla="*/ 381 h 2740"/>
                    <a:gd name="T84" fmla="*/ 567 w 4346"/>
                    <a:gd name="T85" fmla="*/ 381 h 2740"/>
                    <a:gd name="T86" fmla="*/ 1844 w 4346"/>
                    <a:gd name="T87" fmla="*/ 1892 h 2740"/>
                    <a:gd name="T88" fmla="*/ 1698 w 4346"/>
                    <a:gd name="T89" fmla="*/ 1750 h 2740"/>
                    <a:gd name="T90" fmla="*/ 1840 w 4346"/>
                    <a:gd name="T91" fmla="*/ 1604 h 2740"/>
                    <a:gd name="T92" fmla="*/ 1986 w 4346"/>
                    <a:gd name="T93" fmla="*/ 1747 h 2740"/>
                    <a:gd name="T94" fmla="*/ 1844 w 4346"/>
                    <a:gd name="T95" fmla="*/ 1892 h 2740"/>
                    <a:gd name="T96" fmla="*/ 2078 w 4346"/>
                    <a:gd name="T97" fmla="*/ 381 h 2740"/>
                    <a:gd name="T98" fmla="*/ 2078 w 4346"/>
                    <a:gd name="T99" fmla="*/ 187 h 2740"/>
                    <a:gd name="T100" fmla="*/ 2645 w 4346"/>
                    <a:gd name="T101" fmla="*/ 187 h 2740"/>
                    <a:gd name="T102" fmla="*/ 2645 w 4346"/>
                    <a:gd name="T103" fmla="*/ 381 h 2740"/>
                    <a:gd name="T104" fmla="*/ 2078 w 4346"/>
                    <a:gd name="T105" fmla="*/ 381 h 2740"/>
                    <a:gd name="T106" fmla="*/ 3356 w 4346"/>
                    <a:gd name="T107" fmla="*/ 1892 h 2740"/>
                    <a:gd name="T108" fmla="*/ 3210 w 4346"/>
                    <a:gd name="T109" fmla="*/ 1750 h 2740"/>
                    <a:gd name="T110" fmla="*/ 3352 w 4346"/>
                    <a:gd name="T111" fmla="*/ 1604 h 2740"/>
                    <a:gd name="T112" fmla="*/ 3498 w 4346"/>
                    <a:gd name="T113" fmla="*/ 1747 h 2740"/>
                    <a:gd name="T114" fmla="*/ 3356 w 4346"/>
                    <a:gd name="T115" fmla="*/ 1892 h 2740"/>
                    <a:gd name="T116" fmla="*/ 4157 w 4346"/>
                    <a:gd name="T117" fmla="*/ 381 h 2740"/>
                    <a:gd name="T118" fmla="*/ 3590 w 4346"/>
                    <a:gd name="T119" fmla="*/ 381 h 2740"/>
                    <a:gd name="T120" fmla="*/ 3590 w 4346"/>
                    <a:gd name="T121" fmla="*/ 187 h 2740"/>
                    <a:gd name="T122" fmla="*/ 4157 w 4346"/>
                    <a:gd name="T123" fmla="*/ 187 h 2740"/>
                    <a:gd name="T124" fmla="*/ 4157 w 4346"/>
                    <a:gd name="T125" fmla="*/ 381 h 27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4346" h="2740">
                      <a:moveTo>
                        <a:pt x="3023" y="0"/>
                      </a:moveTo>
                      <a:lnTo>
                        <a:pt x="3023" y="2079"/>
                      </a:lnTo>
                      <a:lnTo>
                        <a:pt x="3401" y="2079"/>
                      </a:lnTo>
                      <a:lnTo>
                        <a:pt x="3401" y="2268"/>
                      </a:lnTo>
                      <a:lnTo>
                        <a:pt x="2645" y="2268"/>
                      </a:lnTo>
                      <a:lnTo>
                        <a:pt x="2645" y="2079"/>
                      </a:lnTo>
                      <a:lnTo>
                        <a:pt x="2834" y="2079"/>
                      </a:lnTo>
                      <a:lnTo>
                        <a:pt x="2834" y="0"/>
                      </a:lnTo>
                      <a:lnTo>
                        <a:pt x="1511" y="0"/>
                      </a:lnTo>
                      <a:lnTo>
                        <a:pt x="1511" y="2079"/>
                      </a:lnTo>
                      <a:lnTo>
                        <a:pt x="1700" y="2079"/>
                      </a:lnTo>
                      <a:lnTo>
                        <a:pt x="1700" y="2268"/>
                      </a:lnTo>
                      <a:lnTo>
                        <a:pt x="850" y="2268"/>
                      </a:lnTo>
                      <a:lnTo>
                        <a:pt x="850" y="2079"/>
                      </a:lnTo>
                      <a:lnTo>
                        <a:pt x="1322" y="2079"/>
                      </a:lnTo>
                      <a:lnTo>
                        <a:pt x="1322" y="0"/>
                      </a:lnTo>
                      <a:lnTo>
                        <a:pt x="0" y="0"/>
                      </a:lnTo>
                      <a:lnTo>
                        <a:pt x="0" y="2079"/>
                      </a:lnTo>
                      <a:lnTo>
                        <a:pt x="661" y="2079"/>
                      </a:lnTo>
                      <a:lnTo>
                        <a:pt x="661" y="2457"/>
                      </a:lnTo>
                      <a:lnTo>
                        <a:pt x="1889" y="2457"/>
                      </a:lnTo>
                      <a:lnTo>
                        <a:pt x="1889" y="2079"/>
                      </a:lnTo>
                      <a:lnTo>
                        <a:pt x="2078" y="2079"/>
                      </a:lnTo>
                      <a:lnTo>
                        <a:pt x="2078" y="2740"/>
                      </a:lnTo>
                      <a:lnTo>
                        <a:pt x="2267" y="2740"/>
                      </a:lnTo>
                      <a:lnTo>
                        <a:pt x="2267" y="2079"/>
                      </a:lnTo>
                      <a:lnTo>
                        <a:pt x="2456" y="2079"/>
                      </a:lnTo>
                      <a:lnTo>
                        <a:pt x="2456" y="2457"/>
                      </a:lnTo>
                      <a:lnTo>
                        <a:pt x="3590" y="2457"/>
                      </a:lnTo>
                      <a:lnTo>
                        <a:pt x="3590" y="2079"/>
                      </a:lnTo>
                      <a:lnTo>
                        <a:pt x="4346" y="2079"/>
                      </a:lnTo>
                      <a:lnTo>
                        <a:pt x="4346" y="0"/>
                      </a:lnTo>
                      <a:lnTo>
                        <a:pt x="3023" y="0"/>
                      </a:lnTo>
                      <a:close/>
                      <a:moveTo>
                        <a:pt x="332" y="1892"/>
                      </a:moveTo>
                      <a:cubicBezTo>
                        <a:pt x="253" y="1893"/>
                        <a:pt x="187" y="1830"/>
                        <a:pt x="186" y="1750"/>
                      </a:cubicBezTo>
                      <a:cubicBezTo>
                        <a:pt x="185" y="1671"/>
                        <a:pt x="249" y="1605"/>
                        <a:pt x="329" y="1604"/>
                      </a:cubicBezTo>
                      <a:cubicBezTo>
                        <a:pt x="408" y="1603"/>
                        <a:pt x="473" y="1667"/>
                        <a:pt x="474" y="1747"/>
                      </a:cubicBezTo>
                      <a:cubicBezTo>
                        <a:pt x="475" y="1826"/>
                        <a:pt x="412" y="1891"/>
                        <a:pt x="332" y="1892"/>
                      </a:cubicBezTo>
                      <a:close/>
                      <a:moveTo>
                        <a:pt x="567" y="381"/>
                      </a:moveTo>
                      <a:lnTo>
                        <a:pt x="567" y="187"/>
                      </a:lnTo>
                      <a:lnTo>
                        <a:pt x="1134" y="187"/>
                      </a:lnTo>
                      <a:lnTo>
                        <a:pt x="1134" y="381"/>
                      </a:lnTo>
                      <a:lnTo>
                        <a:pt x="567" y="381"/>
                      </a:lnTo>
                      <a:close/>
                      <a:moveTo>
                        <a:pt x="1844" y="1892"/>
                      </a:moveTo>
                      <a:cubicBezTo>
                        <a:pt x="1764" y="1893"/>
                        <a:pt x="1699" y="1830"/>
                        <a:pt x="1698" y="1750"/>
                      </a:cubicBezTo>
                      <a:cubicBezTo>
                        <a:pt x="1697" y="1671"/>
                        <a:pt x="1761" y="1605"/>
                        <a:pt x="1840" y="1604"/>
                      </a:cubicBezTo>
                      <a:cubicBezTo>
                        <a:pt x="1920" y="1603"/>
                        <a:pt x="1985" y="1667"/>
                        <a:pt x="1986" y="1747"/>
                      </a:cubicBezTo>
                      <a:cubicBezTo>
                        <a:pt x="1987" y="1826"/>
                        <a:pt x="1924" y="1891"/>
                        <a:pt x="1844" y="1892"/>
                      </a:cubicBezTo>
                      <a:close/>
                      <a:moveTo>
                        <a:pt x="2078" y="381"/>
                      </a:moveTo>
                      <a:lnTo>
                        <a:pt x="2078" y="187"/>
                      </a:lnTo>
                      <a:lnTo>
                        <a:pt x="2645" y="187"/>
                      </a:lnTo>
                      <a:lnTo>
                        <a:pt x="2645" y="381"/>
                      </a:lnTo>
                      <a:lnTo>
                        <a:pt x="2078" y="381"/>
                      </a:lnTo>
                      <a:close/>
                      <a:moveTo>
                        <a:pt x="3356" y="1892"/>
                      </a:moveTo>
                      <a:cubicBezTo>
                        <a:pt x="3276" y="1893"/>
                        <a:pt x="3211" y="1830"/>
                        <a:pt x="3210" y="1750"/>
                      </a:cubicBezTo>
                      <a:cubicBezTo>
                        <a:pt x="3209" y="1671"/>
                        <a:pt x="3273" y="1605"/>
                        <a:pt x="3352" y="1604"/>
                      </a:cubicBezTo>
                      <a:cubicBezTo>
                        <a:pt x="3432" y="1603"/>
                        <a:pt x="3497" y="1667"/>
                        <a:pt x="3498" y="1747"/>
                      </a:cubicBezTo>
                      <a:cubicBezTo>
                        <a:pt x="3499" y="1826"/>
                        <a:pt x="3435" y="1891"/>
                        <a:pt x="3356" y="1892"/>
                      </a:cubicBezTo>
                      <a:close/>
                      <a:moveTo>
                        <a:pt x="4157" y="381"/>
                      </a:moveTo>
                      <a:lnTo>
                        <a:pt x="3590" y="381"/>
                      </a:lnTo>
                      <a:lnTo>
                        <a:pt x="3590" y="187"/>
                      </a:lnTo>
                      <a:lnTo>
                        <a:pt x="4157" y="187"/>
                      </a:lnTo>
                      <a:lnTo>
                        <a:pt x="4157" y="381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380" name="Gruppieren 23"/>
                <p:cNvGrpSpPr/>
                <p:nvPr/>
              </p:nvGrpSpPr>
              <p:grpSpPr bwMode="gray">
                <a:xfrm>
                  <a:off x="5497030" y="5664135"/>
                  <a:ext cx="466061" cy="304126"/>
                  <a:chOff x="7524751" y="5064125"/>
                  <a:chExt cx="1908175" cy="1246188"/>
                </a:xfrm>
                <a:solidFill>
                  <a:schemeClr val="bg1"/>
                </a:solidFill>
              </p:grpSpPr>
              <p:sp>
                <p:nvSpPr>
                  <p:cNvPr id="383" name="Freeform 15"/>
                  <p:cNvSpPr>
                    <a:spLocks/>
                  </p:cNvSpPr>
                  <p:nvPr/>
                </p:nvSpPr>
                <p:spPr bwMode="gray">
                  <a:xfrm>
                    <a:off x="7524751" y="5064125"/>
                    <a:ext cx="636588" cy="1241425"/>
                  </a:xfrm>
                  <a:custGeom>
                    <a:avLst/>
                    <a:gdLst>
                      <a:gd name="T0" fmla="*/ 154 w 170"/>
                      <a:gd name="T1" fmla="*/ 6 h 331"/>
                      <a:gd name="T2" fmla="*/ 8 w 170"/>
                      <a:gd name="T3" fmla="*/ 293 h 331"/>
                      <a:gd name="T4" fmla="*/ 24 w 170"/>
                      <a:gd name="T5" fmla="*/ 331 h 331"/>
                      <a:gd name="T6" fmla="*/ 170 w 170"/>
                      <a:gd name="T7" fmla="*/ 0 h 331"/>
                      <a:gd name="T8" fmla="*/ 154 w 170"/>
                      <a:gd name="T9" fmla="*/ 6 h 3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70" h="331">
                        <a:moveTo>
                          <a:pt x="154" y="6"/>
                        </a:moveTo>
                        <a:cubicBezTo>
                          <a:pt x="130" y="55"/>
                          <a:pt x="89" y="135"/>
                          <a:pt x="8" y="293"/>
                        </a:cubicBezTo>
                        <a:cubicBezTo>
                          <a:pt x="0" y="310"/>
                          <a:pt x="6" y="326"/>
                          <a:pt x="24" y="331"/>
                        </a:cubicBezTo>
                        <a:cubicBezTo>
                          <a:pt x="108" y="140"/>
                          <a:pt x="147" y="52"/>
                          <a:pt x="170" y="0"/>
                        </a:cubicBezTo>
                        <a:cubicBezTo>
                          <a:pt x="162" y="1"/>
                          <a:pt x="156" y="3"/>
                          <a:pt x="154" y="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84" name="Freeform 16"/>
                  <p:cNvSpPr>
                    <a:spLocks/>
                  </p:cNvSpPr>
                  <p:nvPr/>
                </p:nvSpPr>
                <p:spPr bwMode="gray">
                  <a:xfrm>
                    <a:off x="8796338" y="5064125"/>
                    <a:ext cx="636588" cy="1241425"/>
                  </a:xfrm>
                  <a:custGeom>
                    <a:avLst/>
                    <a:gdLst>
                      <a:gd name="T0" fmla="*/ 0 w 170"/>
                      <a:gd name="T1" fmla="*/ 0 h 331"/>
                      <a:gd name="T2" fmla="*/ 147 w 170"/>
                      <a:gd name="T3" fmla="*/ 331 h 331"/>
                      <a:gd name="T4" fmla="*/ 162 w 170"/>
                      <a:gd name="T5" fmla="*/ 293 h 331"/>
                      <a:gd name="T6" fmla="*/ 16 w 170"/>
                      <a:gd name="T7" fmla="*/ 6 h 331"/>
                      <a:gd name="T8" fmla="*/ 0 w 170"/>
                      <a:gd name="T9" fmla="*/ 0 h 3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70" h="331">
                        <a:moveTo>
                          <a:pt x="0" y="0"/>
                        </a:moveTo>
                        <a:cubicBezTo>
                          <a:pt x="23" y="52"/>
                          <a:pt x="62" y="140"/>
                          <a:pt x="147" y="331"/>
                        </a:cubicBezTo>
                        <a:cubicBezTo>
                          <a:pt x="164" y="326"/>
                          <a:pt x="170" y="310"/>
                          <a:pt x="162" y="293"/>
                        </a:cubicBezTo>
                        <a:cubicBezTo>
                          <a:pt x="81" y="135"/>
                          <a:pt x="41" y="55"/>
                          <a:pt x="16" y="6"/>
                        </a:cubicBezTo>
                        <a:cubicBezTo>
                          <a:pt x="15" y="3"/>
                          <a:pt x="8" y="1"/>
                          <a:pt x="0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85" name="Freeform 17"/>
                  <p:cNvSpPr>
                    <a:spLocks noEditPoints="1"/>
                  </p:cNvSpPr>
                  <p:nvPr/>
                </p:nvSpPr>
                <p:spPr bwMode="gray">
                  <a:xfrm>
                    <a:off x="7707313" y="5064125"/>
                    <a:ext cx="1543050" cy="1246188"/>
                  </a:xfrm>
                  <a:custGeom>
                    <a:avLst/>
                    <a:gdLst>
                      <a:gd name="T0" fmla="*/ 0 w 411"/>
                      <a:gd name="T1" fmla="*/ 332 h 332"/>
                      <a:gd name="T2" fmla="*/ 170 w 411"/>
                      <a:gd name="T3" fmla="*/ 332 h 332"/>
                      <a:gd name="T4" fmla="*/ 177 w 411"/>
                      <a:gd name="T5" fmla="*/ 231 h 332"/>
                      <a:gd name="T6" fmla="*/ 186 w 411"/>
                      <a:gd name="T7" fmla="*/ 225 h 332"/>
                      <a:gd name="T8" fmla="*/ 225 w 411"/>
                      <a:gd name="T9" fmla="*/ 225 h 332"/>
                      <a:gd name="T10" fmla="*/ 234 w 411"/>
                      <a:gd name="T11" fmla="*/ 231 h 332"/>
                      <a:gd name="T12" fmla="*/ 241 w 411"/>
                      <a:gd name="T13" fmla="*/ 332 h 332"/>
                      <a:gd name="T14" fmla="*/ 411 w 411"/>
                      <a:gd name="T15" fmla="*/ 332 h 332"/>
                      <a:gd name="T16" fmla="*/ 281 w 411"/>
                      <a:gd name="T17" fmla="*/ 0 h 332"/>
                      <a:gd name="T18" fmla="*/ 131 w 411"/>
                      <a:gd name="T19" fmla="*/ 0 h 332"/>
                      <a:gd name="T20" fmla="*/ 0 w 411"/>
                      <a:gd name="T21" fmla="*/ 332 h 332"/>
                      <a:gd name="T22" fmla="*/ 192 w 411"/>
                      <a:gd name="T23" fmla="*/ 12 h 332"/>
                      <a:gd name="T24" fmla="*/ 196 w 411"/>
                      <a:gd name="T25" fmla="*/ 10 h 332"/>
                      <a:gd name="T26" fmla="*/ 215 w 411"/>
                      <a:gd name="T27" fmla="*/ 10 h 332"/>
                      <a:gd name="T28" fmla="*/ 219 w 411"/>
                      <a:gd name="T29" fmla="*/ 12 h 332"/>
                      <a:gd name="T30" fmla="*/ 221 w 411"/>
                      <a:gd name="T31" fmla="*/ 34 h 332"/>
                      <a:gd name="T32" fmla="*/ 216 w 411"/>
                      <a:gd name="T33" fmla="*/ 36 h 332"/>
                      <a:gd name="T34" fmla="*/ 195 w 411"/>
                      <a:gd name="T35" fmla="*/ 36 h 332"/>
                      <a:gd name="T36" fmla="*/ 190 w 411"/>
                      <a:gd name="T37" fmla="*/ 34 h 332"/>
                      <a:gd name="T38" fmla="*/ 192 w 411"/>
                      <a:gd name="T39" fmla="*/ 12 h 332"/>
                      <a:gd name="T40" fmla="*/ 189 w 411"/>
                      <a:gd name="T41" fmla="*/ 54 h 332"/>
                      <a:gd name="T42" fmla="*/ 194 w 411"/>
                      <a:gd name="T43" fmla="*/ 52 h 332"/>
                      <a:gd name="T44" fmla="*/ 217 w 411"/>
                      <a:gd name="T45" fmla="*/ 52 h 332"/>
                      <a:gd name="T46" fmla="*/ 222 w 411"/>
                      <a:gd name="T47" fmla="*/ 54 h 332"/>
                      <a:gd name="T48" fmla="*/ 225 w 411"/>
                      <a:gd name="T49" fmla="*/ 89 h 332"/>
                      <a:gd name="T50" fmla="*/ 219 w 411"/>
                      <a:gd name="T51" fmla="*/ 91 h 332"/>
                      <a:gd name="T52" fmla="*/ 192 w 411"/>
                      <a:gd name="T53" fmla="*/ 91 h 332"/>
                      <a:gd name="T54" fmla="*/ 187 w 411"/>
                      <a:gd name="T55" fmla="*/ 89 h 332"/>
                      <a:gd name="T56" fmla="*/ 189 w 411"/>
                      <a:gd name="T57" fmla="*/ 54 h 332"/>
                      <a:gd name="T58" fmla="*/ 184 w 411"/>
                      <a:gd name="T59" fmla="*/ 119 h 332"/>
                      <a:gd name="T60" fmla="*/ 191 w 411"/>
                      <a:gd name="T61" fmla="*/ 116 h 332"/>
                      <a:gd name="T62" fmla="*/ 220 w 411"/>
                      <a:gd name="T63" fmla="*/ 116 h 332"/>
                      <a:gd name="T64" fmla="*/ 227 w 411"/>
                      <a:gd name="T65" fmla="*/ 119 h 332"/>
                      <a:gd name="T66" fmla="*/ 231 w 411"/>
                      <a:gd name="T67" fmla="*/ 177 h 332"/>
                      <a:gd name="T68" fmla="*/ 223 w 411"/>
                      <a:gd name="T69" fmla="*/ 182 h 332"/>
                      <a:gd name="T70" fmla="*/ 188 w 411"/>
                      <a:gd name="T71" fmla="*/ 182 h 332"/>
                      <a:gd name="T72" fmla="*/ 181 w 411"/>
                      <a:gd name="T73" fmla="*/ 177 h 332"/>
                      <a:gd name="T74" fmla="*/ 184 w 411"/>
                      <a:gd name="T75" fmla="*/ 119 h 3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411" h="332">
                        <a:moveTo>
                          <a:pt x="0" y="332"/>
                        </a:moveTo>
                        <a:cubicBezTo>
                          <a:pt x="57" y="332"/>
                          <a:pt x="113" y="332"/>
                          <a:pt x="170" y="332"/>
                        </a:cubicBezTo>
                        <a:cubicBezTo>
                          <a:pt x="173" y="294"/>
                          <a:pt x="175" y="260"/>
                          <a:pt x="177" y="231"/>
                        </a:cubicBezTo>
                        <a:cubicBezTo>
                          <a:pt x="177" y="228"/>
                          <a:pt x="181" y="225"/>
                          <a:pt x="186" y="225"/>
                        </a:cubicBezTo>
                        <a:cubicBezTo>
                          <a:pt x="202" y="225"/>
                          <a:pt x="210" y="225"/>
                          <a:pt x="225" y="225"/>
                        </a:cubicBezTo>
                        <a:cubicBezTo>
                          <a:pt x="230" y="225"/>
                          <a:pt x="234" y="228"/>
                          <a:pt x="234" y="231"/>
                        </a:cubicBezTo>
                        <a:cubicBezTo>
                          <a:pt x="236" y="260"/>
                          <a:pt x="239" y="294"/>
                          <a:pt x="241" y="332"/>
                        </a:cubicBezTo>
                        <a:cubicBezTo>
                          <a:pt x="298" y="332"/>
                          <a:pt x="354" y="332"/>
                          <a:pt x="411" y="332"/>
                        </a:cubicBezTo>
                        <a:cubicBezTo>
                          <a:pt x="336" y="140"/>
                          <a:pt x="301" y="51"/>
                          <a:pt x="281" y="0"/>
                        </a:cubicBezTo>
                        <a:cubicBezTo>
                          <a:pt x="231" y="0"/>
                          <a:pt x="181" y="0"/>
                          <a:pt x="131" y="0"/>
                        </a:cubicBezTo>
                        <a:cubicBezTo>
                          <a:pt x="110" y="51"/>
                          <a:pt x="76" y="140"/>
                          <a:pt x="0" y="332"/>
                        </a:cubicBezTo>
                        <a:close/>
                        <a:moveTo>
                          <a:pt x="192" y="12"/>
                        </a:moveTo>
                        <a:cubicBezTo>
                          <a:pt x="192" y="11"/>
                          <a:pt x="194" y="10"/>
                          <a:pt x="196" y="10"/>
                        </a:cubicBezTo>
                        <a:cubicBezTo>
                          <a:pt x="204" y="10"/>
                          <a:pt x="208" y="10"/>
                          <a:pt x="215" y="10"/>
                        </a:cubicBezTo>
                        <a:cubicBezTo>
                          <a:pt x="217" y="10"/>
                          <a:pt x="219" y="11"/>
                          <a:pt x="219" y="12"/>
                        </a:cubicBezTo>
                        <a:cubicBezTo>
                          <a:pt x="220" y="19"/>
                          <a:pt x="220" y="26"/>
                          <a:pt x="221" y="34"/>
                        </a:cubicBezTo>
                        <a:cubicBezTo>
                          <a:pt x="221" y="36"/>
                          <a:pt x="219" y="36"/>
                          <a:pt x="216" y="36"/>
                        </a:cubicBezTo>
                        <a:cubicBezTo>
                          <a:pt x="208" y="36"/>
                          <a:pt x="204" y="36"/>
                          <a:pt x="195" y="36"/>
                        </a:cubicBezTo>
                        <a:cubicBezTo>
                          <a:pt x="192" y="36"/>
                          <a:pt x="190" y="36"/>
                          <a:pt x="190" y="34"/>
                        </a:cubicBezTo>
                        <a:cubicBezTo>
                          <a:pt x="191" y="26"/>
                          <a:pt x="191" y="19"/>
                          <a:pt x="192" y="12"/>
                        </a:cubicBezTo>
                        <a:close/>
                        <a:moveTo>
                          <a:pt x="189" y="54"/>
                        </a:moveTo>
                        <a:cubicBezTo>
                          <a:pt x="189" y="53"/>
                          <a:pt x="191" y="52"/>
                          <a:pt x="194" y="52"/>
                        </a:cubicBezTo>
                        <a:cubicBezTo>
                          <a:pt x="203" y="52"/>
                          <a:pt x="208" y="52"/>
                          <a:pt x="217" y="52"/>
                        </a:cubicBezTo>
                        <a:cubicBezTo>
                          <a:pt x="220" y="52"/>
                          <a:pt x="222" y="53"/>
                          <a:pt x="222" y="54"/>
                        </a:cubicBezTo>
                        <a:cubicBezTo>
                          <a:pt x="223" y="65"/>
                          <a:pt x="224" y="76"/>
                          <a:pt x="225" y="89"/>
                        </a:cubicBezTo>
                        <a:cubicBezTo>
                          <a:pt x="225" y="90"/>
                          <a:pt x="222" y="91"/>
                          <a:pt x="219" y="91"/>
                        </a:cubicBezTo>
                        <a:cubicBezTo>
                          <a:pt x="208" y="91"/>
                          <a:pt x="203" y="91"/>
                          <a:pt x="192" y="91"/>
                        </a:cubicBezTo>
                        <a:cubicBezTo>
                          <a:pt x="189" y="91"/>
                          <a:pt x="186" y="90"/>
                          <a:pt x="187" y="89"/>
                        </a:cubicBezTo>
                        <a:cubicBezTo>
                          <a:pt x="187" y="76"/>
                          <a:pt x="188" y="65"/>
                          <a:pt x="189" y="54"/>
                        </a:cubicBezTo>
                        <a:close/>
                        <a:moveTo>
                          <a:pt x="184" y="119"/>
                        </a:moveTo>
                        <a:cubicBezTo>
                          <a:pt x="185" y="117"/>
                          <a:pt x="188" y="116"/>
                          <a:pt x="191" y="116"/>
                        </a:cubicBezTo>
                        <a:cubicBezTo>
                          <a:pt x="203" y="116"/>
                          <a:pt x="209" y="116"/>
                          <a:pt x="220" y="116"/>
                        </a:cubicBezTo>
                        <a:cubicBezTo>
                          <a:pt x="224" y="116"/>
                          <a:pt x="227" y="117"/>
                          <a:pt x="227" y="119"/>
                        </a:cubicBezTo>
                        <a:cubicBezTo>
                          <a:pt x="228" y="136"/>
                          <a:pt x="229" y="155"/>
                          <a:pt x="231" y="177"/>
                        </a:cubicBezTo>
                        <a:cubicBezTo>
                          <a:pt x="231" y="179"/>
                          <a:pt x="227" y="182"/>
                          <a:pt x="223" y="182"/>
                        </a:cubicBezTo>
                        <a:cubicBezTo>
                          <a:pt x="209" y="182"/>
                          <a:pt x="202" y="182"/>
                          <a:pt x="188" y="182"/>
                        </a:cubicBezTo>
                        <a:cubicBezTo>
                          <a:pt x="184" y="182"/>
                          <a:pt x="180" y="179"/>
                          <a:pt x="181" y="177"/>
                        </a:cubicBezTo>
                        <a:cubicBezTo>
                          <a:pt x="182" y="155"/>
                          <a:pt x="183" y="136"/>
                          <a:pt x="184" y="11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sp>
              <p:nvSpPr>
                <p:cNvPr id="381" name="Rectangle 31"/>
                <p:cNvSpPr>
                  <a:spLocks noChangeAspect="1" noChangeArrowheads="1"/>
                </p:cNvSpPr>
                <p:nvPr/>
              </p:nvSpPr>
              <p:spPr bwMode="auto">
                <a:xfrm>
                  <a:off x="5838824" y="3456782"/>
                  <a:ext cx="1871724" cy="1871724"/>
                </a:xfrm>
                <a:prstGeom prst="rect">
                  <a:avLst/>
                </a:prstGeom>
                <a:no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2" name="Freeform 33"/>
                <p:cNvSpPr>
                  <a:spLocks noChangeAspect="1" noEditPoints="1"/>
                </p:cNvSpPr>
                <p:nvPr/>
              </p:nvSpPr>
              <p:spPr bwMode="auto">
                <a:xfrm>
                  <a:off x="8129167" y="5514668"/>
                  <a:ext cx="584014" cy="497036"/>
                </a:xfrm>
                <a:custGeom>
                  <a:avLst/>
                  <a:gdLst>
                    <a:gd name="T0" fmla="*/ 2030 w 4191"/>
                    <a:gd name="T1" fmla="*/ 1157 h 3756"/>
                    <a:gd name="T2" fmla="*/ 1910 w 4191"/>
                    <a:gd name="T3" fmla="*/ 1028 h 3756"/>
                    <a:gd name="T4" fmla="*/ 1790 w 4191"/>
                    <a:gd name="T5" fmla="*/ 1157 h 3756"/>
                    <a:gd name="T6" fmla="*/ 1652 w 4191"/>
                    <a:gd name="T7" fmla="*/ 1028 h 3756"/>
                    <a:gd name="T8" fmla="*/ 1532 w 4191"/>
                    <a:gd name="T9" fmla="*/ 1157 h 3756"/>
                    <a:gd name="T10" fmla="*/ 1391 w 4191"/>
                    <a:gd name="T11" fmla="*/ 925 h 3756"/>
                    <a:gd name="T12" fmla="*/ 1213 w 4191"/>
                    <a:gd name="T13" fmla="*/ 1157 h 3756"/>
                    <a:gd name="T14" fmla="*/ 1073 w 4191"/>
                    <a:gd name="T15" fmla="*/ 1028 h 3756"/>
                    <a:gd name="T16" fmla="*/ 952 w 4191"/>
                    <a:gd name="T17" fmla="*/ 1157 h 3756"/>
                    <a:gd name="T18" fmla="*/ 814 w 4191"/>
                    <a:gd name="T19" fmla="*/ 1028 h 3756"/>
                    <a:gd name="T20" fmla="*/ 694 w 4191"/>
                    <a:gd name="T21" fmla="*/ 1157 h 3756"/>
                    <a:gd name="T22" fmla="*/ 574 w 4191"/>
                    <a:gd name="T23" fmla="*/ 1277 h 3756"/>
                    <a:gd name="T24" fmla="*/ 1213 w 4191"/>
                    <a:gd name="T25" fmla="*/ 3756 h 3756"/>
                    <a:gd name="T26" fmla="*/ 1391 w 4191"/>
                    <a:gd name="T27" fmla="*/ 1277 h 3756"/>
                    <a:gd name="T28" fmla="*/ 3432 w 4191"/>
                    <a:gd name="T29" fmla="*/ 1881 h 3756"/>
                    <a:gd name="T30" fmla="*/ 3340 w 4191"/>
                    <a:gd name="T31" fmla="*/ 1798 h 3756"/>
                    <a:gd name="T32" fmla="*/ 3258 w 4191"/>
                    <a:gd name="T33" fmla="*/ 1699 h 3756"/>
                    <a:gd name="T34" fmla="*/ 3142 w 4191"/>
                    <a:gd name="T35" fmla="*/ 1798 h 3756"/>
                    <a:gd name="T36" fmla="*/ 3059 w 4191"/>
                    <a:gd name="T37" fmla="*/ 1699 h 3756"/>
                    <a:gd name="T38" fmla="*/ 2942 w 4191"/>
                    <a:gd name="T39" fmla="*/ 1798 h 3756"/>
                    <a:gd name="T40" fmla="*/ 2814 w 4191"/>
                    <a:gd name="T41" fmla="*/ 1619 h 3756"/>
                    <a:gd name="T42" fmla="*/ 2697 w 4191"/>
                    <a:gd name="T43" fmla="*/ 1798 h 3756"/>
                    <a:gd name="T44" fmla="*/ 2615 w 4191"/>
                    <a:gd name="T45" fmla="*/ 1699 h 3756"/>
                    <a:gd name="T46" fmla="*/ 2499 w 4191"/>
                    <a:gd name="T47" fmla="*/ 1798 h 3756"/>
                    <a:gd name="T48" fmla="*/ 2416 w 4191"/>
                    <a:gd name="T49" fmla="*/ 1699 h 3756"/>
                    <a:gd name="T50" fmla="*/ 2324 w 4191"/>
                    <a:gd name="T51" fmla="*/ 1798 h 3756"/>
                    <a:gd name="T52" fmla="*/ 2814 w 4191"/>
                    <a:gd name="T53" fmla="*/ 1881 h 3756"/>
                    <a:gd name="T54" fmla="*/ 2942 w 4191"/>
                    <a:gd name="T55" fmla="*/ 3461 h 3756"/>
                    <a:gd name="T56" fmla="*/ 3432 w 4191"/>
                    <a:gd name="T57" fmla="*/ 1881 h 3756"/>
                    <a:gd name="T58" fmla="*/ 3203 w 4191"/>
                    <a:gd name="T59" fmla="*/ 1531 h 3756"/>
                    <a:gd name="T60" fmla="*/ 2031 w 4191"/>
                    <a:gd name="T61" fmla="*/ 1034 h 3756"/>
                    <a:gd name="T62" fmla="*/ 31 w 4191"/>
                    <a:gd name="T63" fmla="*/ 1017 h 3756"/>
                    <a:gd name="T64" fmla="*/ 445 w 4191"/>
                    <a:gd name="T65" fmla="*/ 1228 h 3756"/>
                    <a:gd name="T66" fmla="*/ 31 w 4191"/>
                    <a:gd name="T67" fmla="*/ 1017 h 3756"/>
                    <a:gd name="T68" fmla="*/ 2213 w 4191"/>
                    <a:gd name="T69" fmla="*/ 1781 h 3756"/>
                    <a:gd name="T70" fmla="*/ 1475 w 4191"/>
                    <a:gd name="T71" fmla="*/ 1589 h 3756"/>
                    <a:gd name="T72" fmla="*/ 2498 w 4191"/>
                    <a:gd name="T73" fmla="*/ 1611 h 3756"/>
                    <a:gd name="T74" fmla="*/ 2094 w 4191"/>
                    <a:gd name="T75" fmla="*/ 1373 h 3756"/>
                    <a:gd name="T76" fmla="*/ 2498 w 4191"/>
                    <a:gd name="T77" fmla="*/ 1611 h 3756"/>
                    <a:gd name="T78" fmla="*/ 0 w 4191"/>
                    <a:gd name="T79" fmla="*/ 552 h 3756"/>
                    <a:gd name="T80" fmla="*/ 883 w 4191"/>
                    <a:gd name="T81" fmla="*/ 859 h 3756"/>
                    <a:gd name="T82" fmla="*/ 34 w 4191"/>
                    <a:gd name="T83" fmla="*/ 0 h 3756"/>
                    <a:gd name="T84" fmla="*/ 1719 w 4191"/>
                    <a:gd name="T85" fmla="*/ 883 h 3756"/>
                    <a:gd name="T86" fmla="*/ 34 w 4191"/>
                    <a:gd name="T87" fmla="*/ 0 h 3756"/>
                    <a:gd name="T88" fmla="*/ 3537 w 4191"/>
                    <a:gd name="T89" fmla="*/ 1762 h 3756"/>
                    <a:gd name="T90" fmla="*/ 4191 w 4191"/>
                    <a:gd name="T91" fmla="*/ 2009 h 3756"/>
                    <a:gd name="T92" fmla="*/ 3486 w 4191"/>
                    <a:gd name="T93" fmla="*/ 1962 h 3756"/>
                    <a:gd name="T94" fmla="*/ 3853 w 4191"/>
                    <a:gd name="T95" fmla="*/ 2185 h 3756"/>
                    <a:gd name="T96" fmla="*/ 3486 w 4191"/>
                    <a:gd name="T97" fmla="*/ 1962 h 3756"/>
                    <a:gd name="T98" fmla="*/ 3657 w 4191"/>
                    <a:gd name="T99" fmla="*/ 2287 h 3756"/>
                    <a:gd name="T100" fmla="*/ 3028 w 4191"/>
                    <a:gd name="T101" fmla="*/ 2133 h 37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4191" h="3756">
                      <a:moveTo>
                        <a:pt x="2030" y="1277"/>
                      </a:moveTo>
                      <a:lnTo>
                        <a:pt x="2030" y="1157"/>
                      </a:lnTo>
                      <a:lnTo>
                        <a:pt x="1910" y="1157"/>
                      </a:lnTo>
                      <a:lnTo>
                        <a:pt x="1910" y="1028"/>
                      </a:lnTo>
                      <a:lnTo>
                        <a:pt x="1790" y="1028"/>
                      </a:lnTo>
                      <a:lnTo>
                        <a:pt x="1790" y="1157"/>
                      </a:lnTo>
                      <a:lnTo>
                        <a:pt x="1652" y="1157"/>
                      </a:lnTo>
                      <a:lnTo>
                        <a:pt x="1652" y="1028"/>
                      </a:lnTo>
                      <a:lnTo>
                        <a:pt x="1532" y="1028"/>
                      </a:lnTo>
                      <a:lnTo>
                        <a:pt x="1532" y="1157"/>
                      </a:lnTo>
                      <a:lnTo>
                        <a:pt x="1391" y="1157"/>
                      </a:lnTo>
                      <a:lnTo>
                        <a:pt x="1391" y="925"/>
                      </a:lnTo>
                      <a:lnTo>
                        <a:pt x="1213" y="925"/>
                      </a:lnTo>
                      <a:lnTo>
                        <a:pt x="1213" y="1157"/>
                      </a:lnTo>
                      <a:lnTo>
                        <a:pt x="1073" y="1157"/>
                      </a:lnTo>
                      <a:lnTo>
                        <a:pt x="1073" y="1028"/>
                      </a:lnTo>
                      <a:lnTo>
                        <a:pt x="952" y="1028"/>
                      </a:lnTo>
                      <a:lnTo>
                        <a:pt x="952" y="1157"/>
                      </a:lnTo>
                      <a:lnTo>
                        <a:pt x="814" y="1157"/>
                      </a:lnTo>
                      <a:lnTo>
                        <a:pt x="814" y="1028"/>
                      </a:lnTo>
                      <a:lnTo>
                        <a:pt x="694" y="1028"/>
                      </a:lnTo>
                      <a:lnTo>
                        <a:pt x="694" y="1157"/>
                      </a:lnTo>
                      <a:lnTo>
                        <a:pt x="574" y="1157"/>
                      </a:lnTo>
                      <a:lnTo>
                        <a:pt x="574" y="1277"/>
                      </a:lnTo>
                      <a:lnTo>
                        <a:pt x="1213" y="1277"/>
                      </a:lnTo>
                      <a:lnTo>
                        <a:pt x="1213" y="3756"/>
                      </a:lnTo>
                      <a:lnTo>
                        <a:pt x="1391" y="3756"/>
                      </a:lnTo>
                      <a:lnTo>
                        <a:pt x="1391" y="1277"/>
                      </a:lnTo>
                      <a:lnTo>
                        <a:pt x="2030" y="1277"/>
                      </a:lnTo>
                      <a:close/>
                      <a:moveTo>
                        <a:pt x="3432" y="1881"/>
                      </a:moveTo>
                      <a:lnTo>
                        <a:pt x="3432" y="1798"/>
                      </a:lnTo>
                      <a:lnTo>
                        <a:pt x="3340" y="1798"/>
                      </a:lnTo>
                      <a:lnTo>
                        <a:pt x="3340" y="1699"/>
                      </a:lnTo>
                      <a:lnTo>
                        <a:pt x="3258" y="1699"/>
                      </a:lnTo>
                      <a:lnTo>
                        <a:pt x="3258" y="1798"/>
                      </a:lnTo>
                      <a:lnTo>
                        <a:pt x="3142" y="1798"/>
                      </a:lnTo>
                      <a:lnTo>
                        <a:pt x="3142" y="1699"/>
                      </a:lnTo>
                      <a:lnTo>
                        <a:pt x="3059" y="1699"/>
                      </a:lnTo>
                      <a:lnTo>
                        <a:pt x="3059" y="1798"/>
                      </a:lnTo>
                      <a:lnTo>
                        <a:pt x="2942" y="1798"/>
                      </a:lnTo>
                      <a:lnTo>
                        <a:pt x="2942" y="1619"/>
                      </a:lnTo>
                      <a:lnTo>
                        <a:pt x="2814" y="1619"/>
                      </a:lnTo>
                      <a:lnTo>
                        <a:pt x="2814" y="1798"/>
                      </a:lnTo>
                      <a:lnTo>
                        <a:pt x="2697" y="1798"/>
                      </a:lnTo>
                      <a:lnTo>
                        <a:pt x="2697" y="1699"/>
                      </a:lnTo>
                      <a:lnTo>
                        <a:pt x="2615" y="1699"/>
                      </a:lnTo>
                      <a:lnTo>
                        <a:pt x="2615" y="1798"/>
                      </a:lnTo>
                      <a:lnTo>
                        <a:pt x="2499" y="1798"/>
                      </a:lnTo>
                      <a:lnTo>
                        <a:pt x="2499" y="1699"/>
                      </a:lnTo>
                      <a:lnTo>
                        <a:pt x="2416" y="1699"/>
                      </a:lnTo>
                      <a:lnTo>
                        <a:pt x="2416" y="1798"/>
                      </a:lnTo>
                      <a:lnTo>
                        <a:pt x="2324" y="1798"/>
                      </a:lnTo>
                      <a:lnTo>
                        <a:pt x="2324" y="1881"/>
                      </a:lnTo>
                      <a:lnTo>
                        <a:pt x="2814" y="1881"/>
                      </a:lnTo>
                      <a:lnTo>
                        <a:pt x="2814" y="3461"/>
                      </a:lnTo>
                      <a:lnTo>
                        <a:pt x="2942" y="3461"/>
                      </a:lnTo>
                      <a:lnTo>
                        <a:pt x="2942" y="1881"/>
                      </a:lnTo>
                      <a:lnTo>
                        <a:pt x="3432" y="1881"/>
                      </a:lnTo>
                      <a:close/>
                      <a:moveTo>
                        <a:pt x="2031" y="965"/>
                      </a:moveTo>
                      <a:lnTo>
                        <a:pt x="3203" y="1531"/>
                      </a:lnTo>
                      <a:lnTo>
                        <a:pt x="3203" y="1600"/>
                      </a:lnTo>
                      <a:lnTo>
                        <a:pt x="2031" y="1034"/>
                      </a:lnTo>
                      <a:lnTo>
                        <a:pt x="2031" y="965"/>
                      </a:lnTo>
                      <a:close/>
                      <a:moveTo>
                        <a:pt x="31" y="1017"/>
                      </a:moveTo>
                      <a:lnTo>
                        <a:pt x="445" y="1162"/>
                      </a:lnTo>
                      <a:lnTo>
                        <a:pt x="445" y="1228"/>
                      </a:lnTo>
                      <a:lnTo>
                        <a:pt x="11" y="1076"/>
                      </a:lnTo>
                      <a:lnTo>
                        <a:pt x="31" y="1017"/>
                      </a:lnTo>
                      <a:close/>
                      <a:moveTo>
                        <a:pt x="1475" y="1523"/>
                      </a:moveTo>
                      <a:lnTo>
                        <a:pt x="2213" y="1781"/>
                      </a:lnTo>
                      <a:lnTo>
                        <a:pt x="2213" y="1847"/>
                      </a:lnTo>
                      <a:lnTo>
                        <a:pt x="1475" y="1589"/>
                      </a:lnTo>
                      <a:lnTo>
                        <a:pt x="1475" y="1523"/>
                      </a:lnTo>
                      <a:close/>
                      <a:moveTo>
                        <a:pt x="2498" y="1611"/>
                      </a:moveTo>
                      <a:lnTo>
                        <a:pt x="2094" y="1440"/>
                      </a:lnTo>
                      <a:lnTo>
                        <a:pt x="2094" y="1373"/>
                      </a:lnTo>
                      <a:lnTo>
                        <a:pt x="2498" y="1544"/>
                      </a:lnTo>
                      <a:lnTo>
                        <a:pt x="2498" y="1611"/>
                      </a:lnTo>
                      <a:close/>
                      <a:moveTo>
                        <a:pt x="883" y="927"/>
                      </a:moveTo>
                      <a:lnTo>
                        <a:pt x="0" y="552"/>
                      </a:lnTo>
                      <a:lnTo>
                        <a:pt x="25" y="495"/>
                      </a:lnTo>
                      <a:lnTo>
                        <a:pt x="883" y="859"/>
                      </a:lnTo>
                      <a:lnTo>
                        <a:pt x="883" y="927"/>
                      </a:lnTo>
                      <a:close/>
                      <a:moveTo>
                        <a:pt x="34" y="0"/>
                      </a:moveTo>
                      <a:lnTo>
                        <a:pt x="1718" y="813"/>
                      </a:lnTo>
                      <a:lnTo>
                        <a:pt x="1719" y="883"/>
                      </a:lnTo>
                      <a:lnTo>
                        <a:pt x="8" y="56"/>
                      </a:lnTo>
                      <a:lnTo>
                        <a:pt x="34" y="0"/>
                      </a:lnTo>
                      <a:close/>
                      <a:moveTo>
                        <a:pt x="4123" y="2045"/>
                      </a:moveTo>
                      <a:lnTo>
                        <a:pt x="3537" y="1762"/>
                      </a:lnTo>
                      <a:lnTo>
                        <a:pt x="3537" y="1693"/>
                      </a:lnTo>
                      <a:lnTo>
                        <a:pt x="4191" y="2009"/>
                      </a:lnTo>
                      <a:lnTo>
                        <a:pt x="4123" y="2045"/>
                      </a:lnTo>
                      <a:close/>
                      <a:moveTo>
                        <a:pt x="3486" y="1962"/>
                      </a:moveTo>
                      <a:lnTo>
                        <a:pt x="3924" y="2148"/>
                      </a:lnTo>
                      <a:lnTo>
                        <a:pt x="3853" y="2185"/>
                      </a:lnTo>
                      <a:lnTo>
                        <a:pt x="3486" y="2030"/>
                      </a:lnTo>
                      <a:lnTo>
                        <a:pt x="3486" y="1962"/>
                      </a:lnTo>
                      <a:close/>
                      <a:moveTo>
                        <a:pt x="3028" y="2067"/>
                      </a:moveTo>
                      <a:lnTo>
                        <a:pt x="3657" y="2287"/>
                      </a:lnTo>
                      <a:lnTo>
                        <a:pt x="3581" y="2327"/>
                      </a:lnTo>
                      <a:lnTo>
                        <a:pt x="3028" y="2133"/>
                      </a:lnTo>
                      <a:lnTo>
                        <a:pt x="3028" y="2067"/>
                      </a:lnTo>
                    </a:path>
                  </a:pathLst>
                </a:custGeom>
                <a:solidFill>
                  <a:schemeClr val="bg1"/>
                </a:solidFill>
                <a:ln w="12700">
                  <a:solidFill>
                    <a:schemeClr val="bg1"/>
                  </a:solidFill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332" name="Freeform 673"/>
              <p:cNvSpPr>
                <a:spLocks noEditPoints="1"/>
              </p:cNvSpPr>
              <p:nvPr/>
            </p:nvSpPr>
            <p:spPr bwMode="gray">
              <a:xfrm>
                <a:off x="4710373" y="5096255"/>
                <a:ext cx="198880" cy="247043"/>
              </a:xfrm>
              <a:custGeom>
                <a:avLst/>
                <a:gdLst>
                  <a:gd name="T0" fmla="*/ 67 w 422"/>
                  <a:gd name="T1" fmla="*/ 221 h 557"/>
                  <a:gd name="T2" fmla="*/ 67 w 422"/>
                  <a:gd name="T3" fmla="*/ 143 h 557"/>
                  <a:gd name="T4" fmla="*/ 210 w 422"/>
                  <a:gd name="T5" fmla="*/ 0 h 557"/>
                  <a:gd name="T6" fmla="*/ 212 w 422"/>
                  <a:gd name="T7" fmla="*/ 0 h 557"/>
                  <a:gd name="T8" fmla="*/ 355 w 422"/>
                  <a:gd name="T9" fmla="*/ 143 h 557"/>
                  <a:gd name="T10" fmla="*/ 355 w 422"/>
                  <a:gd name="T11" fmla="*/ 221 h 557"/>
                  <a:gd name="T12" fmla="*/ 307 w 422"/>
                  <a:gd name="T13" fmla="*/ 221 h 557"/>
                  <a:gd name="T14" fmla="*/ 307 w 422"/>
                  <a:gd name="T15" fmla="*/ 149 h 557"/>
                  <a:gd name="T16" fmla="*/ 212 w 422"/>
                  <a:gd name="T17" fmla="*/ 48 h 557"/>
                  <a:gd name="T18" fmla="*/ 210 w 422"/>
                  <a:gd name="T19" fmla="*/ 48 h 557"/>
                  <a:gd name="T20" fmla="*/ 115 w 422"/>
                  <a:gd name="T21" fmla="*/ 149 h 557"/>
                  <a:gd name="T22" fmla="*/ 115 w 422"/>
                  <a:gd name="T23" fmla="*/ 221 h 557"/>
                  <a:gd name="T24" fmla="*/ 67 w 422"/>
                  <a:gd name="T25" fmla="*/ 221 h 557"/>
                  <a:gd name="T26" fmla="*/ 422 w 422"/>
                  <a:gd name="T27" fmla="*/ 557 h 557"/>
                  <a:gd name="T28" fmla="*/ 0 w 422"/>
                  <a:gd name="T29" fmla="*/ 557 h 557"/>
                  <a:gd name="T30" fmla="*/ 0 w 422"/>
                  <a:gd name="T31" fmla="*/ 231 h 557"/>
                  <a:gd name="T32" fmla="*/ 422 w 422"/>
                  <a:gd name="T33" fmla="*/ 231 h 557"/>
                  <a:gd name="T34" fmla="*/ 422 w 422"/>
                  <a:gd name="T35" fmla="*/ 557 h 557"/>
                  <a:gd name="T36" fmla="*/ 321 w 422"/>
                  <a:gd name="T37" fmla="*/ 394 h 557"/>
                  <a:gd name="T38" fmla="*/ 211 w 422"/>
                  <a:gd name="T39" fmla="*/ 283 h 557"/>
                  <a:gd name="T40" fmla="*/ 101 w 422"/>
                  <a:gd name="T41" fmla="*/ 394 h 557"/>
                  <a:gd name="T42" fmla="*/ 211 w 422"/>
                  <a:gd name="T43" fmla="*/ 504 h 557"/>
                  <a:gd name="T44" fmla="*/ 321 w 422"/>
                  <a:gd name="T45" fmla="*/ 394 h 557"/>
                  <a:gd name="T46" fmla="*/ 312 w 422"/>
                  <a:gd name="T47" fmla="*/ 394 h 557"/>
                  <a:gd name="T48" fmla="*/ 211 w 422"/>
                  <a:gd name="T49" fmla="*/ 495 h 557"/>
                  <a:gd name="T50" fmla="*/ 110 w 422"/>
                  <a:gd name="T51" fmla="*/ 394 h 557"/>
                  <a:gd name="T52" fmla="*/ 211 w 422"/>
                  <a:gd name="T53" fmla="*/ 293 h 557"/>
                  <a:gd name="T54" fmla="*/ 312 w 422"/>
                  <a:gd name="T55" fmla="*/ 394 h 557"/>
                  <a:gd name="T56" fmla="*/ 240 w 422"/>
                  <a:gd name="T57" fmla="*/ 375 h 557"/>
                  <a:gd name="T58" fmla="*/ 211 w 422"/>
                  <a:gd name="T59" fmla="*/ 346 h 557"/>
                  <a:gd name="T60" fmla="*/ 182 w 422"/>
                  <a:gd name="T61" fmla="*/ 375 h 557"/>
                  <a:gd name="T62" fmla="*/ 197 w 422"/>
                  <a:gd name="T63" fmla="*/ 400 h 557"/>
                  <a:gd name="T64" fmla="*/ 197 w 422"/>
                  <a:gd name="T65" fmla="*/ 442 h 557"/>
                  <a:gd name="T66" fmla="*/ 225 w 422"/>
                  <a:gd name="T67" fmla="*/ 442 h 557"/>
                  <a:gd name="T68" fmla="*/ 225 w 422"/>
                  <a:gd name="T69" fmla="*/ 400 h 557"/>
                  <a:gd name="T70" fmla="*/ 240 w 422"/>
                  <a:gd name="T71" fmla="*/ 375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22" h="557">
                    <a:moveTo>
                      <a:pt x="67" y="221"/>
                    </a:moveTo>
                    <a:cubicBezTo>
                      <a:pt x="67" y="143"/>
                      <a:pt x="67" y="143"/>
                      <a:pt x="67" y="143"/>
                    </a:cubicBezTo>
                    <a:cubicBezTo>
                      <a:pt x="67" y="64"/>
                      <a:pt x="131" y="0"/>
                      <a:pt x="210" y="0"/>
                    </a:cubicBezTo>
                    <a:cubicBezTo>
                      <a:pt x="212" y="0"/>
                      <a:pt x="212" y="0"/>
                      <a:pt x="212" y="0"/>
                    </a:cubicBezTo>
                    <a:cubicBezTo>
                      <a:pt x="291" y="0"/>
                      <a:pt x="355" y="64"/>
                      <a:pt x="355" y="143"/>
                    </a:cubicBezTo>
                    <a:cubicBezTo>
                      <a:pt x="355" y="221"/>
                      <a:pt x="355" y="221"/>
                      <a:pt x="355" y="221"/>
                    </a:cubicBezTo>
                    <a:cubicBezTo>
                      <a:pt x="307" y="221"/>
                      <a:pt x="307" y="221"/>
                      <a:pt x="307" y="221"/>
                    </a:cubicBezTo>
                    <a:cubicBezTo>
                      <a:pt x="307" y="149"/>
                      <a:pt x="307" y="149"/>
                      <a:pt x="307" y="149"/>
                    </a:cubicBezTo>
                    <a:cubicBezTo>
                      <a:pt x="307" y="93"/>
                      <a:pt x="264" y="48"/>
                      <a:pt x="212" y="48"/>
                    </a:cubicBezTo>
                    <a:cubicBezTo>
                      <a:pt x="210" y="48"/>
                      <a:pt x="210" y="48"/>
                      <a:pt x="210" y="48"/>
                    </a:cubicBezTo>
                    <a:cubicBezTo>
                      <a:pt x="158" y="48"/>
                      <a:pt x="115" y="93"/>
                      <a:pt x="115" y="149"/>
                    </a:cubicBezTo>
                    <a:cubicBezTo>
                      <a:pt x="115" y="221"/>
                      <a:pt x="115" y="221"/>
                      <a:pt x="115" y="221"/>
                    </a:cubicBezTo>
                    <a:lnTo>
                      <a:pt x="67" y="221"/>
                    </a:lnTo>
                    <a:close/>
                    <a:moveTo>
                      <a:pt x="422" y="557"/>
                    </a:moveTo>
                    <a:cubicBezTo>
                      <a:pt x="0" y="557"/>
                      <a:pt x="0" y="557"/>
                      <a:pt x="0" y="557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422" y="231"/>
                      <a:pt x="422" y="231"/>
                      <a:pt x="422" y="231"/>
                    </a:cubicBezTo>
                    <a:lnTo>
                      <a:pt x="422" y="557"/>
                    </a:lnTo>
                    <a:close/>
                    <a:moveTo>
                      <a:pt x="321" y="394"/>
                    </a:moveTo>
                    <a:cubicBezTo>
                      <a:pt x="321" y="333"/>
                      <a:pt x="272" y="283"/>
                      <a:pt x="211" y="283"/>
                    </a:cubicBezTo>
                    <a:cubicBezTo>
                      <a:pt x="150" y="283"/>
                      <a:pt x="101" y="333"/>
                      <a:pt x="101" y="394"/>
                    </a:cubicBezTo>
                    <a:cubicBezTo>
                      <a:pt x="101" y="455"/>
                      <a:pt x="150" y="504"/>
                      <a:pt x="211" y="504"/>
                    </a:cubicBezTo>
                    <a:cubicBezTo>
                      <a:pt x="272" y="504"/>
                      <a:pt x="321" y="455"/>
                      <a:pt x="321" y="394"/>
                    </a:cubicBezTo>
                    <a:moveTo>
                      <a:pt x="312" y="394"/>
                    </a:moveTo>
                    <a:cubicBezTo>
                      <a:pt x="312" y="450"/>
                      <a:pt x="267" y="495"/>
                      <a:pt x="211" y="495"/>
                    </a:cubicBezTo>
                    <a:cubicBezTo>
                      <a:pt x="155" y="495"/>
                      <a:pt x="110" y="450"/>
                      <a:pt x="110" y="394"/>
                    </a:cubicBezTo>
                    <a:cubicBezTo>
                      <a:pt x="110" y="338"/>
                      <a:pt x="155" y="293"/>
                      <a:pt x="211" y="293"/>
                    </a:cubicBezTo>
                    <a:cubicBezTo>
                      <a:pt x="267" y="293"/>
                      <a:pt x="312" y="338"/>
                      <a:pt x="312" y="394"/>
                    </a:cubicBezTo>
                    <a:moveTo>
                      <a:pt x="240" y="375"/>
                    </a:moveTo>
                    <a:cubicBezTo>
                      <a:pt x="240" y="359"/>
                      <a:pt x="227" y="346"/>
                      <a:pt x="211" y="346"/>
                    </a:cubicBezTo>
                    <a:cubicBezTo>
                      <a:pt x="195" y="346"/>
                      <a:pt x="182" y="359"/>
                      <a:pt x="182" y="375"/>
                    </a:cubicBezTo>
                    <a:cubicBezTo>
                      <a:pt x="182" y="385"/>
                      <a:pt x="188" y="395"/>
                      <a:pt x="197" y="400"/>
                    </a:cubicBezTo>
                    <a:cubicBezTo>
                      <a:pt x="197" y="442"/>
                      <a:pt x="197" y="442"/>
                      <a:pt x="197" y="442"/>
                    </a:cubicBezTo>
                    <a:cubicBezTo>
                      <a:pt x="225" y="442"/>
                      <a:pt x="225" y="442"/>
                      <a:pt x="225" y="442"/>
                    </a:cubicBezTo>
                    <a:cubicBezTo>
                      <a:pt x="225" y="400"/>
                      <a:pt x="225" y="400"/>
                      <a:pt x="225" y="400"/>
                    </a:cubicBezTo>
                    <a:cubicBezTo>
                      <a:pt x="234" y="395"/>
                      <a:pt x="240" y="385"/>
                      <a:pt x="240" y="375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/>
              </a:p>
            </p:txBody>
          </p:sp>
          <p:sp>
            <p:nvSpPr>
              <p:cNvPr id="333" name="Freeform 673"/>
              <p:cNvSpPr>
                <a:spLocks noEditPoints="1"/>
              </p:cNvSpPr>
              <p:nvPr/>
            </p:nvSpPr>
            <p:spPr bwMode="gray">
              <a:xfrm>
                <a:off x="4988938" y="5096255"/>
                <a:ext cx="198880" cy="247043"/>
              </a:xfrm>
              <a:custGeom>
                <a:avLst/>
                <a:gdLst>
                  <a:gd name="T0" fmla="*/ 67 w 422"/>
                  <a:gd name="T1" fmla="*/ 221 h 557"/>
                  <a:gd name="T2" fmla="*/ 67 w 422"/>
                  <a:gd name="T3" fmla="*/ 143 h 557"/>
                  <a:gd name="T4" fmla="*/ 210 w 422"/>
                  <a:gd name="T5" fmla="*/ 0 h 557"/>
                  <a:gd name="T6" fmla="*/ 212 w 422"/>
                  <a:gd name="T7" fmla="*/ 0 h 557"/>
                  <a:gd name="T8" fmla="*/ 355 w 422"/>
                  <a:gd name="T9" fmla="*/ 143 h 557"/>
                  <a:gd name="T10" fmla="*/ 355 w 422"/>
                  <a:gd name="T11" fmla="*/ 221 h 557"/>
                  <a:gd name="T12" fmla="*/ 307 w 422"/>
                  <a:gd name="T13" fmla="*/ 221 h 557"/>
                  <a:gd name="T14" fmla="*/ 307 w 422"/>
                  <a:gd name="T15" fmla="*/ 149 h 557"/>
                  <a:gd name="T16" fmla="*/ 212 w 422"/>
                  <a:gd name="T17" fmla="*/ 48 h 557"/>
                  <a:gd name="T18" fmla="*/ 210 w 422"/>
                  <a:gd name="T19" fmla="*/ 48 h 557"/>
                  <a:gd name="T20" fmla="*/ 115 w 422"/>
                  <a:gd name="T21" fmla="*/ 149 h 557"/>
                  <a:gd name="T22" fmla="*/ 115 w 422"/>
                  <a:gd name="T23" fmla="*/ 221 h 557"/>
                  <a:gd name="T24" fmla="*/ 67 w 422"/>
                  <a:gd name="T25" fmla="*/ 221 h 557"/>
                  <a:gd name="T26" fmla="*/ 422 w 422"/>
                  <a:gd name="T27" fmla="*/ 557 h 557"/>
                  <a:gd name="T28" fmla="*/ 0 w 422"/>
                  <a:gd name="T29" fmla="*/ 557 h 557"/>
                  <a:gd name="T30" fmla="*/ 0 w 422"/>
                  <a:gd name="T31" fmla="*/ 231 h 557"/>
                  <a:gd name="T32" fmla="*/ 422 w 422"/>
                  <a:gd name="T33" fmla="*/ 231 h 557"/>
                  <a:gd name="T34" fmla="*/ 422 w 422"/>
                  <a:gd name="T35" fmla="*/ 557 h 557"/>
                  <a:gd name="T36" fmla="*/ 321 w 422"/>
                  <a:gd name="T37" fmla="*/ 394 h 557"/>
                  <a:gd name="T38" fmla="*/ 211 w 422"/>
                  <a:gd name="T39" fmla="*/ 283 h 557"/>
                  <a:gd name="T40" fmla="*/ 101 w 422"/>
                  <a:gd name="T41" fmla="*/ 394 h 557"/>
                  <a:gd name="T42" fmla="*/ 211 w 422"/>
                  <a:gd name="T43" fmla="*/ 504 h 557"/>
                  <a:gd name="T44" fmla="*/ 321 w 422"/>
                  <a:gd name="T45" fmla="*/ 394 h 557"/>
                  <a:gd name="T46" fmla="*/ 312 w 422"/>
                  <a:gd name="T47" fmla="*/ 394 h 557"/>
                  <a:gd name="T48" fmla="*/ 211 w 422"/>
                  <a:gd name="T49" fmla="*/ 495 h 557"/>
                  <a:gd name="T50" fmla="*/ 110 w 422"/>
                  <a:gd name="T51" fmla="*/ 394 h 557"/>
                  <a:gd name="T52" fmla="*/ 211 w 422"/>
                  <a:gd name="T53" fmla="*/ 293 h 557"/>
                  <a:gd name="T54" fmla="*/ 312 w 422"/>
                  <a:gd name="T55" fmla="*/ 394 h 557"/>
                  <a:gd name="T56" fmla="*/ 240 w 422"/>
                  <a:gd name="T57" fmla="*/ 375 h 557"/>
                  <a:gd name="T58" fmla="*/ 211 w 422"/>
                  <a:gd name="T59" fmla="*/ 346 h 557"/>
                  <a:gd name="T60" fmla="*/ 182 w 422"/>
                  <a:gd name="T61" fmla="*/ 375 h 557"/>
                  <a:gd name="T62" fmla="*/ 197 w 422"/>
                  <a:gd name="T63" fmla="*/ 400 h 557"/>
                  <a:gd name="T64" fmla="*/ 197 w 422"/>
                  <a:gd name="T65" fmla="*/ 442 h 557"/>
                  <a:gd name="T66" fmla="*/ 225 w 422"/>
                  <a:gd name="T67" fmla="*/ 442 h 557"/>
                  <a:gd name="T68" fmla="*/ 225 w 422"/>
                  <a:gd name="T69" fmla="*/ 400 h 557"/>
                  <a:gd name="T70" fmla="*/ 240 w 422"/>
                  <a:gd name="T71" fmla="*/ 375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22" h="557">
                    <a:moveTo>
                      <a:pt x="67" y="221"/>
                    </a:moveTo>
                    <a:cubicBezTo>
                      <a:pt x="67" y="143"/>
                      <a:pt x="67" y="143"/>
                      <a:pt x="67" y="143"/>
                    </a:cubicBezTo>
                    <a:cubicBezTo>
                      <a:pt x="67" y="64"/>
                      <a:pt x="131" y="0"/>
                      <a:pt x="210" y="0"/>
                    </a:cubicBezTo>
                    <a:cubicBezTo>
                      <a:pt x="212" y="0"/>
                      <a:pt x="212" y="0"/>
                      <a:pt x="212" y="0"/>
                    </a:cubicBezTo>
                    <a:cubicBezTo>
                      <a:pt x="291" y="0"/>
                      <a:pt x="355" y="64"/>
                      <a:pt x="355" y="143"/>
                    </a:cubicBezTo>
                    <a:cubicBezTo>
                      <a:pt x="355" y="221"/>
                      <a:pt x="355" y="221"/>
                      <a:pt x="355" y="221"/>
                    </a:cubicBezTo>
                    <a:cubicBezTo>
                      <a:pt x="307" y="221"/>
                      <a:pt x="307" y="221"/>
                      <a:pt x="307" y="221"/>
                    </a:cubicBezTo>
                    <a:cubicBezTo>
                      <a:pt x="307" y="149"/>
                      <a:pt x="307" y="149"/>
                      <a:pt x="307" y="149"/>
                    </a:cubicBezTo>
                    <a:cubicBezTo>
                      <a:pt x="307" y="93"/>
                      <a:pt x="264" y="48"/>
                      <a:pt x="212" y="48"/>
                    </a:cubicBezTo>
                    <a:cubicBezTo>
                      <a:pt x="210" y="48"/>
                      <a:pt x="210" y="48"/>
                      <a:pt x="210" y="48"/>
                    </a:cubicBezTo>
                    <a:cubicBezTo>
                      <a:pt x="158" y="48"/>
                      <a:pt x="115" y="93"/>
                      <a:pt x="115" y="149"/>
                    </a:cubicBezTo>
                    <a:cubicBezTo>
                      <a:pt x="115" y="221"/>
                      <a:pt x="115" y="221"/>
                      <a:pt x="115" y="221"/>
                    </a:cubicBezTo>
                    <a:lnTo>
                      <a:pt x="67" y="221"/>
                    </a:lnTo>
                    <a:close/>
                    <a:moveTo>
                      <a:pt x="422" y="557"/>
                    </a:moveTo>
                    <a:cubicBezTo>
                      <a:pt x="0" y="557"/>
                      <a:pt x="0" y="557"/>
                      <a:pt x="0" y="557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422" y="231"/>
                      <a:pt x="422" y="231"/>
                      <a:pt x="422" y="231"/>
                    </a:cubicBezTo>
                    <a:lnTo>
                      <a:pt x="422" y="557"/>
                    </a:lnTo>
                    <a:close/>
                    <a:moveTo>
                      <a:pt x="321" y="394"/>
                    </a:moveTo>
                    <a:cubicBezTo>
                      <a:pt x="321" y="333"/>
                      <a:pt x="272" y="283"/>
                      <a:pt x="211" y="283"/>
                    </a:cubicBezTo>
                    <a:cubicBezTo>
                      <a:pt x="150" y="283"/>
                      <a:pt x="101" y="333"/>
                      <a:pt x="101" y="394"/>
                    </a:cubicBezTo>
                    <a:cubicBezTo>
                      <a:pt x="101" y="455"/>
                      <a:pt x="150" y="504"/>
                      <a:pt x="211" y="504"/>
                    </a:cubicBezTo>
                    <a:cubicBezTo>
                      <a:pt x="272" y="504"/>
                      <a:pt x="321" y="455"/>
                      <a:pt x="321" y="394"/>
                    </a:cubicBezTo>
                    <a:moveTo>
                      <a:pt x="312" y="394"/>
                    </a:moveTo>
                    <a:cubicBezTo>
                      <a:pt x="312" y="450"/>
                      <a:pt x="267" y="495"/>
                      <a:pt x="211" y="495"/>
                    </a:cubicBezTo>
                    <a:cubicBezTo>
                      <a:pt x="155" y="495"/>
                      <a:pt x="110" y="450"/>
                      <a:pt x="110" y="394"/>
                    </a:cubicBezTo>
                    <a:cubicBezTo>
                      <a:pt x="110" y="338"/>
                      <a:pt x="155" y="293"/>
                      <a:pt x="211" y="293"/>
                    </a:cubicBezTo>
                    <a:cubicBezTo>
                      <a:pt x="267" y="293"/>
                      <a:pt x="312" y="338"/>
                      <a:pt x="312" y="394"/>
                    </a:cubicBezTo>
                    <a:moveTo>
                      <a:pt x="240" y="375"/>
                    </a:moveTo>
                    <a:cubicBezTo>
                      <a:pt x="240" y="359"/>
                      <a:pt x="227" y="346"/>
                      <a:pt x="211" y="346"/>
                    </a:cubicBezTo>
                    <a:cubicBezTo>
                      <a:pt x="195" y="346"/>
                      <a:pt x="182" y="359"/>
                      <a:pt x="182" y="375"/>
                    </a:cubicBezTo>
                    <a:cubicBezTo>
                      <a:pt x="182" y="385"/>
                      <a:pt x="188" y="395"/>
                      <a:pt x="197" y="400"/>
                    </a:cubicBezTo>
                    <a:cubicBezTo>
                      <a:pt x="197" y="442"/>
                      <a:pt x="197" y="442"/>
                      <a:pt x="197" y="442"/>
                    </a:cubicBezTo>
                    <a:cubicBezTo>
                      <a:pt x="225" y="442"/>
                      <a:pt x="225" y="442"/>
                      <a:pt x="225" y="442"/>
                    </a:cubicBezTo>
                    <a:cubicBezTo>
                      <a:pt x="225" y="400"/>
                      <a:pt x="225" y="400"/>
                      <a:pt x="225" y="400"/>
                    </a:cubicBezTo>
                    <a:cubicBezTo>
                      <a:pt x="234" y="395"/>
                      <a:pt x="240" y="385"/>
                      <a:pt x="240" y="375"/>
                    </a:cubicBezTo>
                  </a:path>
                </a:pathLst>
              </a:custGeom>
              <a:solidFill>
                <a:srgbClr val="FFB9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/>
              </a:p>
            </p:txBody>
          </p:sp>
          <p:sp>
            <p:nvSpPr>
              <p:cNvPr id="334" name="Freeform 673"/>
              <p:cNvSpPr>
                <a:spLocks noEditPoints="1"/>
              </p:cNvSpPr>
              <p:nvPr/>
            </p:nvSpPr>
            <p:spPr bwMode="gray">
              <a:xfrm>
                <a:off x="6666909" y="5096255"/>
                <a:ext cx="198880" cy="247043"/>
              </a:xfrm>
              <a:custGeom>
                <a:avLst/>
                <a:gdLst>
                  <a:gd name="T0" fmla="*/ 67 w 422"/>
                  <a:gd name="T1" fmla="*/ 221 h 557"/>
                  <a:gd name="T2" fmla="*/ 67 w 422"/>
                  <a:gd name="T3" fmla="*/ 143 h 557"/>
                  <a:gd name="T4" fmla="*/ 210 w 422"/>
                  <a:gd name="T5" fmla="*/ 0 h 557"/>
                  <a:gd name="T6" fmla="*/ 212 w 422"/>
                  <a:gd name="T7" fmla="*/ 0 h 557"/>
                  <a:gd name="T8" fmla="*/ 355 w 422"/>
                  <a:gd name="T9" fmla="*/ 143 h 557"/>
                  <a:gd name="T10" fmla="*/ 355 w 422"/>
                  <a:gd name="T11" fmla="*/ 221 h 557"/>
                  <a:gd name="T12" fmla="*/ 307 w 422"/>
                  <a:gd name="T13" fmla="*/ 221 h 557"/>
                  <a:gd name="T14" fmla="*/ 307 w 422"/>
                  <a:gd name="T15" fmla="*/ 149 h 557"/>
                  <a:gd name="T16" fmla="*/ 212 w 422"/>
                  <a:gd name="T17" fmla="*/ 48 h 557"/>
                  <a:gd name="T18" fmla="*/ 210 w 422"/>
                  <a:gd name="T19" fmla="*/ 48 h 557"/>
                  <a:gd name="T20" fmla="*/ 115 w 422"/>
                  <a:gd name="T21" fmla="*/ 149 h 557"/>
                  <a:gd name="T22" fmla="*/ 115 w 422"/>
                  <a:gd name="T23" fmla="*/ 221 h 557"/>
                  <a:gd name="T24" fmla="*/ 67 w 422"/>
                  <a:gd name="T25" fmla="*/ 221 h 557"/>
                  <a:gd name="T26" fmla="*/ 422 w 422"/>
                  <a:gd name="T27" fmla="*/ 557 h 557"/>
                  <a:gd name="T28" fmla="*/ 0 w 422"/>
                  <a:gd name="T29" fmla="*/ 557 h 557"/>
                  <a:gd name="T30" fmla="*/ 0 w 422"/>
                  <a:gd name="T31" fmla="*/ 231 h 557"/>
                  <a:gd name="T32" fmla="*/ 422 w 422"/>
                  <a:gd name="T33" fmla="*/ 231 h 557"/>
                  <a:gd name="T34" fmla="*/ 422 w 422"/>
                  <a:gd name="T35" fmla="*/ 557 h 557"/>
                  <a:gd name="T36" fmla="*/ 321 w 422"/>
                  <a:gd name="T37" fmla="*/ 394 h 557"/>
                  <a:gd name="T38" fmla="*/ 211 w 422"/>
                  <a:gd name="T39" fmla="*/ 283 h 557"/>
                  <a:gd name="T40" fmla="*/ 101 w 422"/>
                  <a:gd name="T41" fmla="*/ 394 h 557"/>
                  <a:gd name="T42" fmla="*/ 211 w 422"/>
                  <a:gd name="T43" fmla="*/ 504 h 557"/>
                  <a:gd name="T44" fmla="*/ 321 w 422"/>
                  <a:gd name="T45" fmla="*/ 394 h 557"/>
                  <a:gd name="T46" fmla="*/ 312 w 422"/>
                  <a:gd name="T47" fmla="*/ 394 h 557"/>
                  <a:gd name="T48" fmla="*/ 211 w 422"/>
                  <a:gd name="T49" fmla="*/ 495 h 557"/>
                  <a:gd name="T50" fmla="*/ 110 w 422"/>
                  <a:gd name="T51" fmla="*/ 394 h 557"/>
                  <a:gd name="T52" fmla="*/ 211 w 422"/>
                  <a:gd name="T53" fmla="*/ 293 h 557"/>
                  <a:gd name="T54" fmla="*/ 312 w 422"/>
                  <a:gd name="T55" fmla="*/ 394 h 557"/>
                  <a:gd name="T56" fmla="*/ 240 w 422"/>
                  <a:gd name="T57" fmla="*/ 375 h 557"/>
                  <a:gd name="T58" fmla="*/ 211 w 422"/>
                  <a:gd name="T59" fmla="*/ 346 h 557"/>
                  <a:gd name="T60" fmla="*/ 182 w 422"/>
                  <a:gd name="T61" fmla="*/ 375 h 557"/>
                  <a:gd name="T62" fmla="*/ 197 w 422"/>
                  <a:gd name="T63" fmla="*/ 400 h 557"/>
                  <a:gd name="T64" fmla="*/ 197 w 422"/>
                  <a:gd name="T65" fmla="*/ 442 h 557"/>
                  <a:gd name="T66" fmla="*/ 225 w 422"/>
                  <a:gd name="T67" fmla="*/ 442 h 557"/>
                  <a:gd name="T68" fmla="*/ 225 w 422"/>
                  <a:gd name="T69" fmla="*/ 400 h 557"/>
                  <a:gd name="T70" fmla="*/ 240 w 422"/>
                  <a:gd name="T71" fmla="*/ 375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22" h="557">
                    <a:moveTo>
                      <a:pt x="67" y="221"/>
                    </a:moveTo>
                    <a:cubicBezTo>
                      <a:pt x="67" y="143"/>
                      <a:pt x="67" y="143"/>
                      <a:pt x="67" y="143"/>
                    </a:cubicBezTo>
                    <a:cubicBezTo>
                      <a:pt x="67" y="64"/>
                      <a:pt x="131" y="0"/>
                      <a:pt x="210" y="0"/>
                    </a:cubicBezTo>
                    <a:cubicBezTo>
                      <a:pt x="212" y="0"/>
                      <a:pt x="212" y="0"/>
                      <a:pt x="212" y="0"/>
                    </a:cubicBezTo>
                    <a:cubicBezTo>
                      <a:pt x="291" y="0"/>
                      <a:pt x="355" y="64"/>
                      <a:pt x="355" y="143"/>
                    </a:cubicBezTo>
                    <a:cubicBezTo>
                      <a:pt x="355" y="221"/>
                      <a:pt x="355" y="221"/>
                      <a:pt x="355" y="221"/>
                    </a:cubicBezTo>
                    <a:cubicBezTo>
                      <a:pt x="307" y="221"/>
                      <a:pt x="307" y="221"/>
                      <a:pt x="307" y="221"/>
                    </a:cubicBezTo>
                    <a:cubicBezTo>
                      <a:pt x="307" y="149"/>
                      <a:pt x="307" y="149"/>
                      <a:pt x="307" y="149"/>
                    </a:cubicBezTo>
                    <a:cubicBezTo>
                      <a:pt x="307" y="93"/>
                      <a:pt x="264" y="48"/>
                      <a:pt x="212" y="48"/>
                    </a:cubicBezTo>
                    <a:cubicBezTo>
                      <a:pt x="210" y="48"/>
                      <a:pt x="210" y="48"/>
                      <a:pt x="210" y="48"/>
                    </a:cubicBezTo>
                    <a:cubicBezTo>
                      <a:pt x="158" y="48"/>
                      <a:pt x="115" y="93"/>
                      <a:pt x="115" y="149"/>
                    </a:cubicBezTo>
                    <a:cubicBezTo>
                      <a:pt x="115" y="221"/>
                      <a:pt x="115" y="221"/>
                      <a:pt x="115" y="221"/>
                    </a:cubicBezTo>
                    <a:lnTo>
                      <a:pt x="67" y="221"/>
                    </a:lnTo>
                    <a:close/>
                    <a:moveTo>
                      <a:pt x="422" y="557"/>
                    </a:moveTo>
                    <a:cubicBezTo>
                      <a:pt x="0" y="557"/>
                      <a:pt x="0" y="557"/>
                      <a:pt x="0" y="557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422" y="231"/>
                      <a:pt x="422" y="231"/>
                      <a:pt x="422" y="231"/>
                    </a:cubicBezTo>
                    <a:lnTo>
                      <a:pt x="422" y="557"/>
                    </a:lnTo>
                    <a:close/>
                    <a:moveTo>
                      <a:pt x="321" y="394"/>
                    </a:moveTo>
                    <a:cubicBezTo>
                      <a:pt x="321" y="333"/>
                      <a:pt x="272" y="283"/>
                      <a:pt x="211" y="283"/>
                    </a:cubicBezTo>
                    <a:cubicBezTo>
                      <a:pt x="150" y="283"/>
                      <a:pt x="101" y="333"/>
                      <a:pt x="101" y="394"/>
                    </a:cubicBezTo>
                    <a:cubicBezTo>
                      <a:pt x="101" y="455"/>
                      <a:pt x="150" y="504"/>
                      <a:pt x="211" y="504"/>
                    </a:cubicBezTo>
                    <a:cubicBezTo>
                      <a:pt x="272" y="504"/>
                      <a:pt x="321" y="455"/>
                      <a:pt x="321" y="394"/>
                    </a:cubicBezTo>
                    <a:moveTo>
                      <a:pt x="312" y="394"/>
                    </a:moveTo>
                    <a:cubicBezTo>
                      <a:pt x="312" y="450"/>
                      <a:pt x="267" y="495"/>
                      <a:pt x="211" y="495"/>
                    </a:cubicBezTo>
                    <a:cubicBezTo>
                      <a:pt x="155" y="495"/>
                      <a:pt x="110" y="450"/>
                      <a:pt x="110" y="394"/>
                    </a:cubicBezTo>
                    <a:cubicBezTo>
                      <a:pt x="110" y="338"/>
                      <a:pt x="155" y="293"/>
                      <a:pt x="211" y="293"/>
                    </a:cubicBezTo>
                    <a:cubicBezTo>
                      <a:pt x="267" y="293"/>
                      <a:pt x="312" y="338"/>
                      <a:pt x="312" y="394"/>
                    </a:cubicBezTo>
                    <a:moveTo>
                      <a:pt x="240" y="375"/>
                    </a:moveTo>
                    <a:cubicBezTo>
                      <a:pt x="240" y="359"/>
                      <a:pt x="227" y="346"/>
                      <a:pt x="211" y="346"/>
                    </a:cubicBezTo>
                    <a:cubicBezTo>
                      <a:pt x="195" y="346"/>
                      <a:pt x="182" y="359"/>
                      <a:pt x="182" y="375"/>
                    </a:cubicBezTo>
                    <a:cubicBezTo>
                      <a:pt x="182" y="385"/>
                      <a:pt x="188" y="395"/>
                      <a:pt x="197" y="400"/>
                    </a:cubicBezTo>
                    <a:cubicBezTo>
                      <a:pt x="197" y="442"/>
                      <a:pt x="197" y="442"/>
                      <a:pt x="197" y="442"/>
                    </a:cubicBezTo>
                    <a:cubicBezTo>
                      <a:pt x="225" y="442"/>
                      <a:pt x="225" y="442"/>
                      <a:pt x="225" y="442"/>
                    </a:cubicBezTo>
                    <a:cubicBezTo>
                      <a:pt x="225" y="400"/>
                      <a:pt x="225" y="400"/>
                      <a:pt x="225" y="400"/>
                    </a:cubicBezTo>
                    <a:cubicBezTo>
                      <a:pt x="234" y="395"/>
                      <a:pt x="240" y="385"/>
                      <a:pt x="240" y="375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/>
              </a:p>
            </p:txBody>
          </p:sp>
          <p:sp>
            <p:nvSpPr>
              <p:cNvPr id="336" name="Freeform 673"/>
              <p:cNvSpPr>
                <a:spLocks noEditPoints="1"/>
              </p:cNvSpPr>
              <p:nvPr/>
            </p:nvSpPr>
            <p:spPr bwMode="gray">
              <a:xfrm>
                <a:off x="6945474" y="5096255"/>
                <a:ext cx="198880" cy="247043"/>
              </a:xfrm>
              <a:custGeom>
                <a:avLst/>
                <a:gdLst>
                  <a:gd name="T0" fmla="*/ 67 w 422"/>
                  <a:gd name="T1" fmla="*/ 221 h 557"/>
                  <a:gd name="T2" fmla="*/ 67 w 422"/>
                  <a:gd name="T3" fmla="*/ 143 h 557"/>
                  <a:gd name="T4" fmla="*/ 210 w 422"/>
                  <a:gd name="T5" fmla="*/ 0 h 557"/>
                  <a:gd name="T6" fmla="*/ 212 w 422"/>
                  <a:gd name="T7" fmla="*/ 0 h 557"/>
                  <a:gd name="T8" fmla="*/ 355 w 422"/>
                  <a:gd name="T9" fmla="*/ 143 h 557"/>
                  <a:gd name="T10" fmla="*/ 355 w 422"/>
                  <a:gd name="T11" fmla="*/ 221 h 557"/>
                  <a:gd name="T12" fmla="*/ 307 w 422"/>
                  <a:gd name="T13" fmla="*/ 221 h 557"/>
                  <a:gd name="T14" fmla="*/ 307 w 422"/>
                  <a:gd name="T15" fmla="*/ 149 h 557"/>
                  <a:gd name="T16" fmla="*/ 212 w 422"/>
                  <a:gd name="T17" fmla="*/ 48 h 557"/>
                  <a:gd name="T18" fmla="*/ 210 w 422"/>
                  <a:gd name="T19" fmla="*/ 48 h 557"/>
                  <a:gd name="T20" fmla="*/ 115 w 422"/>
                  <a:gd name="T21" fmla="*/ 149 h 557"/>
                  <a:gd name="T22" fmla="*/ 115 w 422"/>
                  <a:gd name="T23" fmla="*/ 221 h 557"/>
                  <a:gd name="T24" fmla="*/ 67 w 422"/>
                  <a:gd name="T25" fmla="*/ 221 h 557"/>
                  <a:gd name="T26" fmla="*/ 422 w 422"/>
                  <a:gd name="T27" fmla="*/ 557 h 557"/>
                  <a:gd name="T28" fmla="*/ 0 w 422"/>
                  <a:gd name="T29" fmla="*/ 557 h 557"/>
                  <a:gd name="T30" fmla="*/ 0 w 422"/>
                  <a:gd name="T31" fmla="*/ 231 h 557"/>
                  <a:gd name="T32" fmla="*/ 422 w 422"/>
                  <a:gd name="T33" fmla="*/ 231 h 557"/>
                  <a:gd name="T34" fmla="*/ 422 w 422"/>
                  <a:gd name="T35" fmla="*/ 557 h 557"/>
                  <a:gd name="T36" fmla="*/ 321 w 422"/>
                  <a:gd name="T37" fmla="*/ 394 h 557"/>
                  <a:gd name="T38" fmla="*/ 211 w 422"/>
                  <a:gd name="T39" fmla="*/ 283 h 557"/>
                  <a:gd name="T40" fmla="*/ 101 w 422"/>
                  <a:gd name="T41" fmla="*/ 394 h 557"/>
                  <a:gd name="T42" fmla="*/ 211 w 422"/>
                  <a:gd name="T43" fmla="*/ 504 h 557"/>
                  <a:gd name="T44" fmla="*/ 321 w 422"/>
                  <a:gd name="T45" fmla="*/ 394 h 557"/>
                  <a:gd name="T46" fmla="*/ 312 w 422"/>
                  <a:gd name="T47" fmla="*/ 394 h 557"/>
                  <a:gd name="T48" fmla="*/ 211 w 422"/>
                  <a:gd name="T49" fmla="*/ 495 h 557"/>
                  <a:gd name="T50" fmla="*/ 110 w 422"/>
                  <a:gd name="T51" fmla="*/ 394 h 557"/>
                  <a:gd name="T52" fmla="*/ 211 w 422"/>
                  <a:gd name="T53" fmla="*/ 293 h 557"/>
                  <a:gd name="T54" fmla="*/ 312 w 422"/>
                  <a:gd name="T55" fmla="*/ 394 h 557"/>
                  <a:gd name="T56" fmla="*/ 240 w 422"/>
                  <a:gd name="T57" fmla="*/ 375 h 557"/>
                  <a:gd name="T58" fmla="*/ 211 w 422"/>
                  <a:gd name="T59" fmla="*/ 346 h 557"/>
                  <a:gd name="T60" fmla="*/ 182 w 422"/>
                  <a:gd name="T61" fmla="*/ 375 h 557"/>
                  <a:gd name="T62" fmla="*/ 197 w 422"/>
                  <a:gd name="T63" fmla="*/ 400 h 557"/>
                  <a:gd name="T64" fmla="*/ 197 w 422"/>
                  <a:gd name="T65" fmla="*/ 442 h 557"/>
                  <a:gd name="T66" fmla="*/ 225 w 422"/>
                  <a:gd name="T67" fmla="*/ 442 h 557"/>
                  <a:gd name="T68" fmla="*/ 225 w 422"/>
                  <a:gd name="T69" fmla="*/ 400 h 557"/>
                  <a:gd name="T70" fmla="*/ 240 w 422"/>
                  <a:gd name="T71" fmla="*/ 375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22" h="557">
                    <a:moveTo>
                      <a:pt x="67" y="221"/>
                    </a:moveTo>
                    <a:cubicBezTo>
                      <a:pt x="67" y="143"/>
                      <a:pt x="67" y="143"/>
                      <a:pt x="67" y="143"/>
                    </a:cubicBezTo>
                    <a:cubicBezTo>
                      <a:pt x="67" y="64"/>
                      <a:pt x="131" y="0"/>
                      <a:pt x="210" y="0"/>
                    </a:cubicBezTo>
                    <a:cubicBezTo>
                      <a:pt x="212" y="0"/>
                      <a:pt x="212" y="0"/>
                      <a:pt x="212" y="0"/>
                    </a:cubicBezTo>
                    <a:cubicBezTo>
                      <a:pt x="291" y="0"/>
                      <a:pt x="355" y="64"/>
                      <a:pt x="355" y="143"/>
                    </a:cubicBezTo>
                    <a:cubicBezTo>
                      <a:pt x="355" y="221"/>
                      <a:pt x="355" y="221"/>
                      <a:pt x="355" y="221"/>
                    </a:cubicBezTo>
                    <a:cubicBezTo>
                      <a:pt x="307" y="221"/>
                      <a:pt x="307" y="221"/>
                      <a:pt x="307" y="221"/>
                    </a:cubicBezTo>
                    <a:cubicBezTo>
                      <a:pt x="307" y="149"/>
                      <a:pt x="307" y="149"/>
                      <a:pt x="307" y="149"/>
                    </a:cubicBezTo>
                    <a:cubicBezTo>
                      <a:pt x="307" y="93"/>
                      <a:pt x="264" y="48"/>
                      <a:pt x="212" y="48"/>
                    </a:cubicBezTo>
                    <a:cubicBezTo>
                      <a:pt x="210" y="48"/>
                      <a:pt x="210" y="48"/>
                      <a:pt x="210" y="48"/>
                    </a:cubicBezTo>
                    <a:cubicBezTo>
                      <a:pt x="158" y="48"/>
                      <a:pt x="115" y="93"/>
                      <a:pt x="115" y="149"/>
                    </a:cubicBezTo>
                    <a:cubicBezTo>
                      <a:pt x="115" y="221"/>
                      <a:pt x="115" y="221"/>
                      <a:pt x="115" y="221"/>
                    </a:cubicBezTo>
                    <a:lnTo>
                      <a:pt x="67" y="221"/>
                    </a:lnTo>
                    <a:close/>
                    <a:moveTo>
                      <a:pt x="422" y="557"/>
                    </a:moveTo>
                    <a:cubicBezTo>
                      <a:pt x="0" y="557"/>
                      <a:pt x="0" y="557"/>
                      <a:pt x="0" y="557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422" y="231"/>
                      <a:pt x="422" y="231"/>
                      <a:pt x="422" y="231"/>
                    </a:cubicBezTo>
                    <a:lnTo>
                      <a:pt x="422" y="557"/>
                    </a:lnTo>
                    <a:close/>
                    <a:moveTo>
                      <a:pt x="321" y="394"/>
                    </a:moveTo>
                    <a:cubicBezTo>
                      <a:pt x="321" y="333"/>
                      <a:pt x="272" y="283"/>
                      <a:pt x="211" y="283"/>
                    </a:cubicBezTo>
                    <a:cubicBezTo>
                      <a:pt x="150" y="283"/>
                      <a:pt x="101" y="333"/>
                      <a:pt x="101" y="394"/>
                    </a:cubicBezTo>
                    <a:cubicBezTo>
                      <a:pt x="101" y="455"/>
                      <a:pt x="150" y="504"/>
                      <a:pt x="211" y="504"/>
                    </a:cubicBezTo>
                    <a:cubicBezTo>
                      <a:pt x="272" y="504"/>
                      <a:pt x="321" y="455"/>
                      <a:pt x="321" y="394"/>
                    </a:cubicBezTo>
                    <a:moveTo>
                      <a:pt x="312" y="394"/>
                    </a:moveTo>
                    <a:cubicBezTo>
                      <a:pt x="312" y="450"/>
                      <a:pt x="267" y="495"/>
                      <a:pt x="211" y="495"/>
                    </a:cubicBezTo>
                    <a:cubicBezTo>
                      <a:pt x="155" y="495"/>
                      <a:pt x="110" y="450"/>
                      <a:pt x="110" y="394"/>
                    </a:cubicBezTo>
                    <a:cubicBezTo>
                      <a:pt x="110" y="338"/>
                      <a:pt x="155" y="293"/>
                      <a:pt x="211" y="293"/>
                    </a:cubicBezTo>
                    <a:cubicBezTo>
                      <a:pt x="267" y="293"/>
                      <a:pt x="312" y="338"/>
                      <a:pt x="312" y="394"/>
                    </a:cubicBezTo>
                    <a:moveTo>
                      <a:pt x="240" y="375"/>
                    </a:moveTo>
                    <a:cubicBezTo>
                      <a:pt x="240" y="359"/>
                      <a:pt x="227" y="346"/>
                      <a:pt x="211" y="346"/>
                    </a:cubicBezTo>
                    <a:cubicBezTo>
                      <a:pt x="195" y="346"/>
                      <a:pt x="182" y="359"/>
                      <a:pt x="182" y="375"/>
                    </a:cubicBezTo>
                    <a:cubicBezTo>
                      <a:pt x="182" y="385"/>
                      <a:pt x="188" y="395"/>
                      <a:pt x="197" y="400"/>
                    </a:cubicBezTo>
                    <a:cubicBezTo>
                      <a:pt x="197" y="442"/>
                      <a:pt x="197" y="442"/>
                      <a:pt x="197" y="442"/>
                    </a:cubicBezTo>
                    <a:cubicBezTo>
                      <a:pt x="225" y="442"/>
                      <a:pt x="225" y="442"/>
                      <a:pt x="225" y="442"/>
                    </a:cubicBezTo>
                    <a:cubicBezTo>
                      <a:pt x="225" y="400"/>
                      <a:pt x="225" y="400"/>
                      <a:pt x="225" y="400"/>
                    </a:cubicBezTo>
                    <a:cubicBezTo>
                      <a:pt x="234" y="395"/>
                      <a:pt x="240" y="385"/>
                      <a:pt x="240" y="375"/>
                    </a:cubicBezTo>
                  </a:path>
                </a:pathLst>
              </a:custGeom>
              <a:solidFill>
                <a:srgbClr val="FFB9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/>
              </a:p>
            </p:txBody>
          </p:sp>
          <p:sp>
            <p:nvSpPr>
              <p:cNvPr id="339" name="Freeform 673"/>
              <p:cNvSpPr>
                <a:spLocks noEditPoints="1"/>
              </p:cNvSpPr>
              <p:nvPr/>
            </p:nvSpPr>
            <p:spPr bwMode="gray">
              <a:xfrm>
                <a:off x="8672566" y="5096255"/>
                <a:ext cx="198880" cy="247043"/>
              </a:xfrm>
              <a:custGeom>
                <a:avLst/>
                <a:gdLst>
                  <a:gd name="T0" fmla="*/ 67 w 422"/>
                  <a:gd name="T1" fmla="*/ 221 h 557"/>
                  <a:gd name="T2" fmla="*/ 67 w 422"/>
                  <a:gd name="T3" fmla="*/ 143 h 557"/>
                  <a:gd name="T4" fmla="*/ 210 w 422"/>
                  <a:gd name="T5" fmla="*/ 0 h 557"/>
                  <a:gd name="T6" fmla="*/ 212 w 422"/>
                  <a:gd name="T7" fmla="*/ 0 h 557"/>
                  <a:gd name="T8" fmla="*/ 355 w 422"/>
                  <a:gd name="T9" fmla="*/ 143 h 557"/>
                  <a:gd name="T10" fmla="*/ 355 w 422"/>
                  <a:gd name="T11" fmla="*/ 221 h 557"/>
                  <a:gd name="T12" fmla="*/ 307 w 422"/>
                  <a:gd name="T13" fmla="*/ 221 h 557"/>
                  <a:gd name="T14" fmla="*/ 307 w 422"/>
                  <a:gd name="T15" fmla="*/ 149 h 557"/>
                  <a:gd name="T16" fmla="*/ 212 w 422"/>
                  <a:gd name="T17" fmla="*/ 48 h 557"/>
                  <a:gd name="T18" fmla="*/ 210 w 422"/>
                  <a:gd name="T19" fmla="*/ 48 h 557"/>
                  <a:gd name="T20" fmla="*/ 115 w 422"/>
                  <a:gd name="T21" fmla="*/ 149 h 557"/>
                  <a:gd name="T22" fmla="*/ 115 w 422"/>
                  <a:gd name="T23" fmla="*/ 221 h 557"/>
                  <a:gd name="T24" fmla="*/ 67 w 422"/>
                  <a:gd name="T25" fmla="*/ 221 h 557"/>
                  <a:gd name="T26" fmla="*/ 422 w 422"/>
                  <a:gd name="T27" fmla="*/ 557 h 557"/>
                  <a:gd name="T28" fmla="*/ 0 w 422"/>
                  <a:gd name="T29" fmla="*/ 557 h 557"/>
                  <a:gd name="T30" fmla="*/ 0 w 422"/>
                  <a:gd name="T31" fmla="*/ 231 h 557"/>
                  <a:gd name="T32" fmla="*/ 422 w 422"/>
                  <a:gd name="T33" fmla="*/ 231 h 557"/>
                  <a:gd name="T34" fmla="*/ 422 w 422"/>
                  <a:gd name="T35" fmla="*/ 557 h 557"/>
                  <a:gd name="T36" fmla="*/ 321 w 422"/>
                  <a:gd name="T37" fmla="*/ 394 h 557"/>
                  <a:gd name="T38" fmla="*/ 211 w 422"/>
                  <a:gd name="T39" fmla="*/ 283 h 557"/>
                  <a:gd name="T40" fmla="*/ 101 w 422"/>
                  <a:gd name="T41" fmla="*/ 394 h 557"/>
                  <a:gd name="T42" fmla="*/ 211 w 422"/>
                  <a:gd name="T43" fmla="*/ 504 h 557"/>
                  <a:gd name="T44" fmla="*/ 321 w 422"/>
                  <a:gd name="T45" fmla="*/ 394 h 557"/>
                  <a:gd name="T46" fmla="*/ 312 w 422"/>
                  <a:gd name="T47" fmla="*/ 394 h 557"/>
                  <a:gd name="T48" fmla="*/ 211 w 422"/>
                  <a:gd name="T49" fmla="*/ 495 h 557"/>
                  <a:gd name="T50" fmla="*/ 110 w 422"/>
                  <a:gd name="T51" fmla="*/ 394 h 557"/>
                  <a:gd name="T52" fmla="*/ 211 w 422"/>
                  <a:gd name="T53" fmla="*/ 293 h 557"/>
                  <a:gd name="T54" fmla="*/ 312 w 422"/>
                  <a:gd name="T55" fmla="*/ 394 h 557"/>
                  <a:gd name="T56" fmla="*/ 240 w 422"/>
                  <a:gd name="T57" fmla="*/ 375 h 557"/>
                  <a:gd name="T58" fmla="*/ 211 w 422"/>
                  <a:gd name="T59" fmla="*/ 346 h 557"/>
                  <a:gd name="T60" fmla="*/ 182 w 422"/>
                  <a:gd name="T61" fmla="*/ 375 h 557"/>
                  <a:gd name="T62" fmla="*/ 197 w 422"/>
                  <a:gd name="T63" fmla="*/ 400 h 557"/>
                  <a:gd name="T64" fmla="*/ 197 w 422"/>
                  <a:gd name="T65" fmla="*/ 442 h 557"/>
                  <a:gd name="T66" fmla="*/ 225 w 422"/>
                  <a:gd name="T67" fmla="*/ 442 h 557"/>
                  <a:gd name="T68" fmla="*/ 225 w 422"/>
                  <a:gd name="T69" fmla="*/ 400 h 557"/>
                  <a:gd name="T70" fmla="*/ 240 w 422"/>
                  <a:gd name="T71" fmla="*/ 375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22" h="557">
                    <a:moveTo>
                      <a:pt x="67" y="221"/>
                    </a:moveTo>
                    <a:cubicBezTo>
                      <a:pt x="67" y="143"/>
                      <a:pt x="67" y="143"/>
                      <a:pt x="67" y="143"/>
                    </a:cubicBezTo>
                    <a:cubicBezTo>
                      <a:pt x="67" y="64"/>
                      <a:pt x="131" y="0"/>
                      <a:pt x="210" y="0"/>
                    </a:cubicBezTo>
                    <a:cubicBezTo>
                      <a:pt x="212" y="0"/>
                      <a:pt x="212" y="0"/>
                      <a:pt x="212" y="0"/>
                    </a:cubicBezTo>
                    <a:cubicBezTo>
                      <a:pt x="291" y="0"/>
                      <a:pt x="355" y="64"/>
                      <a:pt x="355" y="143"/>
                    </a:cubicBezTo>
                    <a:cubicBezTo>
                      <a:pt x="355" y="221"/>
                      <a:pt x="355" y="221"/>
                      <a:pt x="355" y="221"/>
                    </a:cubicBezTo>
                    <a:cubicBezTo>
                      <a:pt x="307" y="221"/>
                      <a:pt x="307" y="221"/>
                      <a:pt x="307" y="221"/>
                    </a:cubicBezTo>
                    <a:cubicBezTo>
                      <a:pt x="307" y="149"/>
                      <a:pt x="307" y="149"/>
                      <a:pt x="307" y="149"/>
                    </a:cubicBezTo>
                    <a:cubicBezTo>
                      <a:pt x="307" y="93"/>
                      <a:pt x="264" y="48"/>
                      <a:pt x="212" y="48"/>
                    </a:cubicBezTo>
                    <a:cubicBezTo>
                      <a:pt x="210" y="48"/>
                      <a:pt x="210" y="48"/>
                      <a:pt x="210" y="48"/>
                    </a:cubicBezTo>
                    <a:cubicBezTo>
                      <a:pt x="158" y="48"/>
                      <a:pt x="115" y="93"/>
                      <a:pt x="115" y="149"/>
                    </a:cubicBezTo>
                    <a:cubicBezTo>
                      <a:pt x="115" y="221"/>
                      <a:pt x="115" y="221"/>
                      <a:pt x="115" y="221"/>
                    </a:cubicBezTo>
                    <a:lnTo>
                      <a:pt x="67" y="221"/>
                    </a:lnTo>
                    <a:close/>
                    <a:moveTo>
                      <a:pt x="422" y="557"/>
                    </a:moveTo>
                    <a:cubicBezTo>
                      <a:pt x="0" y="557"/>
                      <a:pt x="0" y="557"/>
                      <a:pt x="0" y="557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422" y="231"/>
                      <a:pt x="422" y="231"/>
                      <a:pt x="422" y="231"/>
                    </a:cubicBezTo>
                    <a:lnTo>
                      <a:pt x="422" y="557"/>
                    </a:lnTo>
                    <a:close/>
                    <a:moveTo>
                      <a:pt x="321" y="394"/>
                    </a:moveTo>
                    <a:cubicBezTo>
                      <a:pt x="321" y="333"/>
                      <a:pt x="272" y="283"/>
                      <a:pt x="211" y="283"/>
                    </a:cubicBezTo>
                    <a:cubicBezTo>
                      <a:pt x="150" y="283"/>
                      <a:pt x="101" y="333"/>
                      <a:pt x="101" y="394"/>
                    </a:cubicBezTo>
                    <a:cubicBezTo>
                      <a:pt x="101" y="455"/>
                      <a:pt x="150" y="504"/>
                      <a:pt x="211" y="504"/>
                    </a:cubicBezTo>
                    <a:cubicBezTo>
                      <a:pt x="272" y="504"/>
                      <a:pt x="321" y="455"/>
                      <a:pt x="321" y="394"/>
                    </a:cubicBezTo>
                    <a:moveTo>
                      <a:pt x="312" y="394"/>
                    </a:moveTo>
                    <a:cubicBezTo>
                      <a:pt x="312" y="450"/>
                      <a:pt x="267" y="495"/>
                      <a:pt x="211" y="495"/>
                    </a:cubicBezTo>
                    <a:cubicBezTo>
                      <a:pt x="155" y="495"/>
                      <a:pt x="110" y="450"/>
                      <a:pt x="110" y="394"/>
                    </a:cubicBezTo>
                    <a:cubicBezTo>
                      <a:pt x="110" y="338"/>
                      <a:pt x="155" y="293"/>
                      <a:pt x="211" y="293"/>
                    </a:cubicBezTo>
                    <a:cubicBezTo>
                      <a:pt x="267" y="293"/>
                      <a:pt x="312" y="338"/>
                      <a:pt x="312" y="394"/>
                    </a:cubicBezTo>
                    <a:moveTo>
                      <a:pt x="240" y="375"/>
                    </a:moveTo>
                    <a:cubicBezTo>
                      <a:pt x="240" y="359"/>
                      <a:pt x="227" y="346"/>
                      <a:pt x="211" y="346"/>
                    </a:cubicBezTo>
                    <a:cubicBezTo>
                      <a:pt x="195" y="346"/>
                      <a:pt x="182" y="359"/>
                      <a:pt x="182" y="375"/>
                    </a:cubicBezTo>
                    <a:cubicBezTo>
                      <a:pt x="182" y="385"/>
                      <a:pt x="188" y="395"/>
                      <a:pt x="197" y="400"/>
                    </a:cubicBezTo>
                    <a:cubicBezTo>
                      <a:pt x="197" y="442"/>
                      <a:pt x="197" y="442"/>
                      <a:pt x="197" y="442"/>
                    </a:cubicBezTo>
                    <a:cubicBezTo>
                      <a:pt x="225" y="442"/>
                      <a:pt x="225" y="442"/>
                      <a:pt x="225" y="442"/>
                    </a:cubicBezTo>
                    <a:cubicBezTo>
                      <a:pt x="225" y="400"/>
                      <a:pt x="225" y="400"/>
                      <a:pt x="225" y="400"/>
                    </a:cubicBezTo>
                    <a:cubicBezTo>
                      <a:pt x="234" y="395"/>
                      <a:pt x="240" y="385"/>
                      <a:pt x="240" y="375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/>
              </a:p>
            </p:txBody>
          </p:sp>
          <p:sp>
            <p:nvSpPr>
              <p:cNvPr id="340" name="Freeform 673"/>
              <p:cNvSpPr>
                <a:spLocks noEditPoints="1"/>
              </p:cNvSpPr>
              <p:nvPr/>
            </p:nvSpPr>
            <p:spPr bwMode="gray">
              <a:xfrm>
                <a:off x="8951131" y="5096255"/>
                <a:ext cx="198880" cy="247043"/>
              </a:xfrm>
              <a:custGeom>
                <a:avLst/>
                <a:gdLst>
                  <a:gd name="T0" fmla="*/ 67 w 422"/>
                  <a:gd name="T1" fmla="*/ 221 h 557"/>
                  <a:gd name="T2" fmla="*/ 67 w 422"/>
                  <a:gd name="T3" fmla="*/ 143 h 557"/>
                  <a:gd name="T4" fmla="*/ 210 w 422"/>
                  <a:gd name="T5" fmla="*/ 0 h 557"/>
                  <a:gd name="T6" fmla="*/ 212 w 422"/>
                  <a:gd name="T7" fmla="*/ 0 h 557"/>
                  <a:gd name="T8" fmla="*/ 355 w 422"/>
                  <a:gd name="T9" fmla="*/ 143 h 557"/>
                  <a:gd name="T10" fmla="*/ 355 w 422"/>
                  <a:gd name="T11" fmla="*/ 221 h 557"/>
                  <a:gd name="T12" fmla="*/ 307 w 422"/>
                  <a:gd name="T13" fmla="*/ 221 h 557"/>
                  <a:gd name="T14" fmla="*/ 307 w 422"/>
                  <a:gd name="T15" fmla="*/ 149 h 557"/>
                  <a:gd name="T16" fmla="*/ 212 w 422"/>
                  <a:gd name="T17" fmla="*/ 48 h 557"/>
                  <a:gd name="T18" fmla="*/ 210 w 422"/>
                  <a:gd name="T19" fmla="*/ 48 h 557"/>
                  <a:gd name="T20" fmla="*/ 115 w 422"/>
                  <a:gd name="T21" fmla="*/ 149 h 557"/>
                  <a:gd name="T22" fmla="*/ 115 w 422"/>
                  <a:gd name="T23" fmla="*/ 221 h 557"/>
                  <a:gd name="T24" fmla="*/ 67 w 422"/>
                  <a:gd name="T25" fmla="*/ 221 h 557"/>
                  <a:gd name="T26" fmla="*/ 422 w 422"/>
                  <a:gd name="T27" fmla="*/ 557 h 557"/>
                  <a:gd name="T28" fmla="*/ 0 w 422"/>
                  <a:gd name="T29" fmla="*/ 557 h 557"/>
                  <a:gd name="T30" fmla="*/ 0 w 422"/>
                  <a:gd name="T31" fmla="*/ 231 h 557"/>
                  <a:gd name="T32" fmla="*/ 422 w 422"/>
                  <a:gd name="T33" fmla="*/ 231 h 557"/>
                  <a:gd name="T34" fmla="*/ 422 w 422"/>
                  <a:gd name="T35" fmla="*/ 557 h 557"/>
                  <a:gd name="T36" fmla="*/ 321 w 422"/>
                  <a:gd name="T37" fmla="*/ 394 h 557"/>
                  <a:gd name="T38" fmla="*/ 211 w 422"/>
                  <a:gd name="T39" fmla="*/ 283 h 557"/>
                  <a:gd name="T40" fmla="*/ 101 w 422"/>
                  <a:gd name="T41" fmla="*/ 394 h 557"/>
                  <a:gd name="T42" fmla="*/ 211 w 422"/>
                  <a:gd name="T43" fmla="*/ 504 h 557"/>
                  <a:gd name="T44" fmla="*/ 321 w 422"/>
                  <a:gd name="T45" fmla="*/ 394 h 557"/>
                  <a:gd name="T46" fmla="*/ 312 w 422"/>
                  <a:gd name="T47" fmla="*/ 394 h 557"/>
                  <a:gd name="T48" fmla="*/ 211 w 422"/>
                  <a:gd name="T49" fmla="*/ 495 h 557"/>
                  <a:gd name="T50" fmla="*/ 110 w 422"/>
                  <a:gd name="T51" fmla="*/ 394 h 557"/>
                  <a:gd name="T52" fmla="*/ 211 w 422"/>
                  <a:gd name="T53" fmla="*/ 293 h 557"/>
                  <a:gd name="T54" fmla="*/ 312 w 422"/>
                  <a:gd name="T55" fmla="*/ 394 h 557"/>
                  <a:gd name="T56" fmla="*/ 240 w 422"/>
                  <a:gd name="T57" fmla="*/ 375 h 557"/>
                  <a:gd name="T58" fmla="*/ 211 w 422"/>
                  <a:gd name="T59" fmla="*/ 346 h 557"/>
                  <a:gd name="T60" fmla="*/ 182 w 422"/>
                  <a:gd name="T61" fmla="*/ 375 h 557"/>
                  <a:gd name="T62" fmla="*/ 197 w 422"/>
                  <a:gd name="T63" fmla="*/ 400 h 557"/>
                  <a:gd name="T64" fmla="*/ 197 w 422"/>
                  <a:gd name="T65" fmla="*/ 442 h 557"/>
                  <a:gd name="T66" fmla="*/ 225 w 422"/>
                  <a:gd name="T67" fmla="*/ 442 h 557"/>
                  <a:gd name="T68" fmla="*/ 225 w 422"/>
                  <a:gd name="T69" fmla="*/ 400 h 557"/>
                  <a:gd name="T70" fmla="*/ 240 w 422"/>
                  <a:gd name="T71" fmla="*/ 375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22" h="557">
                    <a:moveTo>
                      <a:pt x="67" y="221"/>
                    </a:moveTo>
                    <a:cubicBezTo>
                      <a:pt x="67" y="143"/>
                      <a:pt x="67" y="143"/>
                      <a:pt x="67" y="143"/>
                    </a:cubicBezTo>
                    <a:cubicBezTo>
                      <a:pt x="67" y="64"/>
                      <a:pt x="131" y="0"/>
                      <a:pt x="210" y="0"/>
                    </a:cubicBezTo>
                    <a:cubicBezTo>
                      <a:pt x="212" y="0"/>
                      <a:pt x="212" y="0"/>
                      <a:pt x="212" y="0"/>
                    </a:cubicBezTo>
                    <a:cubicBezTo>
                      <a:pt x="291" y="0"/>
                      <a:pt x="355" y="64"/>
                      <a:pt x="355" y="143"/>
                    </a:cubicBezTo>
                    <a:cubicBezTo>
                      <a:pt x="355" y="221"/>
                      <a:pt x="355" y="221"/>
                      <a:pt x="355" y="221"/>
                    </a:cubicBezTo>
                    <a:cubicBezTo>
                      <a:pt x="307" y="221"/>
                      <a:pt x="307" y="221"/>
                      <a:pt x="307" y="221"/>
                    </a:cubicBezTo>
                    <a:cubicBezTo>
                      <a:pt x="307" y="149"/>
                      <a:pt x="307" y="149"/>
                      <a:pt x="307" y="149"/>
                    </a:cubicBezTo>
                    <a:cubicBezTo>
                      <a:pt x="307" y="93"/>
                      <a:pt x="264" y="48"/>
                      <a:pt x="212" y="48"/>
                    </a:cubicBezTo>
                    <a:cubicBezTo>
                      <a:pt x="210" y="48"/>
                      <a:pt x="210" y="48"/>
                      <a:pt x="210" y="48"/>
                    </a:cubicBezTo>
                    <a:cubicBezTo>
                      <a:pt x="158" y="48"/>
                      <a:pt x="115" y="93"/>
                      <a:pt x="115" y="149"/>
                    </a:cubicBezTo>
                    <a:cubicBezTo>
                      <a:pt x="115" y="221"/>
                      <a:pt x="115" y="221"/>
                      <a:pt x="115" y="221"/>
                    </a:cubicBezTo>
                    <a:lnTo>
                      <a:pt x="67" y="221"/>
                    </a:lnTo>
                    <a:close/>
                    <a:moveTo>
                      <a:pt x="422" y="557"/>
                    </a:moveTo>
                    <a:cubicBezTo>
                      <a:pt x="0" y="557"/>
                      <a:pt x="0" y="557"/>
                      <a:pt x="0" y="557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422" y="231"/>
                      <a:pt x="422" y="231"/>
                      <a:pt x="422" y="231"/>
                    </a:cubicBezTo>
                    <a:lnTo>
                      <a:pt x="422" y="557"/>
                    </a:lnTo>
                    <a:close/>
                    <a:moveTo>
                      <a:pt x="321" y="394"/>
                    </a:moveTo>
                    <a:cubicBezTo>
                      <a:pt x="321" y="333"/>
                      <a:pt x="272" y="283"/>
                      <a:pt x="211" y="283"/>
                    </a:cubicBezTo>
                    <a:cubicBezTo>
                      <a:pt x="150" y="283"/>
                      <a:pt x="101" y="333"/>
                      <a:pt x="101" y="394"/>
                    </a:cubicBezTo>
                    <a:cubicBezTo>
                      <a:pt x="101" y="455"/>
                      <a:pt x="150" y="504"/>
                      <a:pt x="211" y="504"/>
                    </a:cubicBezTo>
                    <a:cubicBezTo>
                      <a:pt x="272" y="504"/>
                      <a:pt x="321" y="455"/>
                      <a:pt x="321" y="394"/>
                    </a:cubicBezTo>
                    <a:moveTo>
                      <a:pt x="312" y="394"/>
                    </a:moveTo>
                    <a:cubicBezTo>
                      <a:pt x="312" y="450"/>
                      <a:pt x="267" y="495"/>
                      <a:pt x="211" y="495"/>
                    </a:cubicBezTo>
                    <a:cubicBezTo>
                      <a:pt x="155" y="495"/>
                      <a:pt x="110" y="450"/>
                      <a:pt x="110" y="394"/>
                    </a:cubicBezTo>
                    <a:cubicBezTo>
                      <a:pt x="110" y="338"/>
                      <a:pt x="155" y="293"/>
                      <a:pt x="211" y="293"/>
                    </a:cubicBezTo>
                    <a:cubicBezTo>
                      <a:pt x="267" y="293"/>
                      <a:pt x="312" y="338"/>
                      <a:pt x="312" y="394"/>
                    </a:cubicBezTo>
                    <a:moveTo>
                      <a:pt x="240" y="375"/>
                    </a:moveTo>
                    <a:cubicBezTo>
                      <a:pt x="240" y="359"/>
                      <a:pt x="227" y="346"/>
                      <a:pt x="211" y="346"/>
                    </a:cubicBezTo>
                    <a:cubicBezTo>
                      <a:pt x="195" y="346"/>
                      <a:pt x="182" y="359"/>
                      <a:pt x="182" y="375"/>
                    </a:cubicBezTo>
                    <a:cubicBezTo>
                      <a:pt x="182" y="385"/>
                      <a:pt x="188" y="395"/>
                      <a:pt x="197" y="400"/>
                    </a:cubicBezTo>
                    <a:cubicBezTo>
                      <a:pt x="197" y="442"/>
                      <a:pt x="197" y="442"/>
                      <a:pt x="197" y="442"/>
                    </a:cubicBezTo>
                    <a:cubicBezTo>
                      <a:pt x="225" y="442"/>
                      <a:pt x="225" y="442"/>
                      <a:pt x="225" y="442"/>
                    </a:cubicBezTo>
                    <a:cubicBezTo>
                      <a:pt x="225" y="400"/>
                      <a:pt x="225" y="400"/>
                      <a:pt x="225" y="400"/>
                    </a:cubicBezTo>
                    <a:cubicBezTo>
                      <a:pt x="234" y="395"/>
                      <a:pt x="240" y="385"/>
                      <a:pt x="240" y="375"/>
                    </a:cubicBezTo>
                  </a:path>
                </a:pathLst>
              </a:custGeom>
              <a:solidFill>
                <a:srgbClr val="FFB9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/>
              </a:p>
            </p:txBody>
          </p:sp>
          <p:sp>
            <p:nvSpPr>
              <p:cNvPr id="344" name="Freeform 6"/>
              <p:cNvSpPr>
                <a:spLocks noChangeAspect="1" noEditPoints="1"/>
              </p:cNvSpPr>
              <p:nvPr/>
            </p:nvSpPr>
            <p:spPr bwMode="auto">
              <a:xfrm>
                <a:off x="8662402" y="5973275"/>
                <a:ext cx="528760" cy="413764"/>
              </a:xfrm>
              <a:custGeom>
                <a:avLst/>
                <a:gdLst>
                  <a:gd name="T0" fmla="*/ 3874 w 3874"/>
                  <a:gd name="T1" fmla="*/ 3213 h 3213"/>
                  <a:gd name="T2" fmla="*/ 3685 w 3874"/>
                  <a:gd name="T3" fmla="*/ 1937 h 3213"/>
                  <a:gd name="T4" fmla="*/ 189 w 3874"/>
                  <a:gd name="T5" fmla="*/ 1937 h 3213"/>
                  <a:gd name="T6" fmla="*/ 0 w 3874"/>
                  <a:gd name="T7" fmla="*/ 3213 h 3213"/>
                  <a:gd name="T8" fmla="*/ 1937 w 3874"/>
                  <a:gd name="T9" fmla="*/ 0 h 3213"/>
                  <a:gd name="T10" fmla="*/ 1212 w 3874"/>
                  <a:gd name="T11" fmla="*/ 2693 h 3213"/>
                  <a:gd name="T12" fmla="*/ 2740 w 3874"/>
                  <a:gd name="T13" fmla="*/ 2882 h 3213"/>
                  <a:gd name="T14" fmla="*/ 1212 w 3874"/>
                  <a:gd name="T15" fmla="*/ 2693 h 3213"/>
                  <a:gd name="T16" fmla="*/ 1378 w 3874"/>
                  <a:gd name="T17" fmla="*/ 3213 h 3213"/>
                  <a:gd name="T18" fmla="*/ 1270 w 3874"/>
                  <a:gd name="T19" fmla="*/ 3024 h 3213"/>
                  <a:gd name="T20" fmla="*/ 2360 w 3874"/>
                  <a:gd name="T21" fmla="*/ 3024 h 3213"/>
                  <a:gd name="T22" fmla="*/ 2740 w 3874"/>
                  <a:gd name="T23" fmla="*/ 3213 h 3213"/>
                  <a:gd name="T24" fmla="*/ 2360 w 3874"/>
                  <a:gd name="T25" fmla="*/ 3024 h 3213"/>
                  <a:gd name="T26" fmla="*/ 2929 w 3874"/>
                  <a:gd name="T27" fmla="*/ 1606 h 3213"/>
                  <a:gd name="T28" fmla="*/ 2639 w 3874"/>
                  <a:gd name="T29" fmla="*/ 2551 h 3213"/>
                  <a:gd name="T30" fmla="*/ 1006 w 3874"/>
                  <a:gd name="T31" fmla="*/ 2361 h 3213"/>
                  <a:gd name="T32" fmla="*/ 988 w 3874"/>
                  <a:gd name="T33" fmla="*/ 1223 h 3213"/>
                  <a:gd name="T34" fmla="*/ 1937 w 3874"/>
                  <a:gd name="T35" fmla="*/ 426 h 3213"/>
                  <a:gd name="T36" fmla="*/ 2886 w 3874"/>
                  <a:gd name="T37" fmla="*/ 1223 h 3213"/>
                  <a:gd name="T38" fmla="*/ 2362 w 3874"/>
                  <a:gd name="T39" fmla="*/ 806 h 3213"/>
                  <a:gd name="T40" fmla="*/ 1512 w 3874"/>
                  <a:gd name="T41" fmla="*/ 612 h 3213"/>
                  <a:gd name="T42" fmla="*/ 1561 w 3874"/>
                  <a:gd name="T43" fmla="*/ 2174 h 3213"/>
                  <a:gd name="T44" fmla="*/ 1273 w 3874"/>
                  <a:gd name="T45" fmla="*/ 2174 h 3213"/>
                  <a:gd name="T46" fmla="*/ 1561 w 3874"/>
                  <a:gd name="T47" fmla="*/ 2174 h 3213"/>
                  <a:gd name="T48" fmla="*/ 2453 w 3874"/>
                  <a:gd name="T49" fmla="*/ 2029 h 3213"/>
                  <a:gd name="T50" fmla="*/ 2453 w 3874"/>
                  <a:gd name="T51" fmla="*/ 2318 h 3213"/>
                  <a:gd name="T52" fmla="*/ 2646 w 3874"/>
                  <a:gd name="T53" fmla="*/ 1466 h 3213"/>
                  <a:gd name="T54" fmla="*/ 2640 w 3874"/>
                  <a:gd name="T55" fmla="*/ 1423 h 3213"/>
                  <a:gd name="T56" fmla="*/ 2639 w 3874"/>
                  <a:gd name="T57" fmla="*/ 1419 h 3213"/>
                  <a:gd name="T58" fmla="*/ 2541 w 3874"/>
                  <a:gd name="T59" fmla="*/ 1109 h 3213"/>
                  <a:gd name="T60" fmla="*/ 1482 w 3874"/>
                  <a:gd name="T61" fmla="*/ 1000 h 3213"/>
                  <a:gd name="T62" fmla="*/ 1335 w 3874"/>
                  <a:gd name="T63" fmla="*/ 1109 h 3213"/>
                  <a:gd name="T64" fmla="*/ 1237 w 3874"/>
                  <a:gd name="T65" fmla="*/ 1422 h 3213"/>
                  <a:gd name="T66" fmla="*/ 1237 w 3874"/>
                  <a:gd name="T67" fmla="*/ 1423 h 3213"/>
                  <a:gd name="T68" fmla="*/ 1378 w 3874"/>
                  <a:gd name="T69" fmla="*/ 1620 h 3213"/>
                  <a:gd name="T70" fmla="*/ 1938 w 3874"/>
                  <a:gd name="T71" fmla="*/ 1662 h 3213"/>
                  <a:gd name="T72" fmla="*/ 2498 w 3874"/>
                  <a:gd name="T73" fmla="*/ 1620 h 3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874" h="3213">
                    <a:moveTo>
                      <a:pt x="3874" y="1937"/>
                    </a:moveTo>
                    <a:lnTo>
                      <a:pt x="3874" y="3213"/>
                    </a:lnTo>
                    <a:lnTo>
                      <a:pt x="3685" y="3213"/>
                    </a:lnTo>
                    <a:lnTo>
                      <a:pt x="3685" y="1937"/>
                    </a:lnTo>
                    <a:cubicBezTo>
                      <a:pt x="3685" y="973"/>
                      <a:pt x="2901" y="189"/>
                      <a:pt x="1937" y="189"/>
                    </a:cubicBezTo>
                    <a:cubicBezTo>
                      <a:pt x="973" y="189"/>
                      <a:pt x="189" y="973"/>
                      <a:pt x="189" y="1937"/>
                    </a:cubicBezTo>
                    <a:lnTo>
                      <a:pt x="189" y="3213"/>
                    </a:lnTo>
                    <a:lnTo>
                      <a:pt x="0" y="3213"/>
                    </a:lnTo>
                    <a:lnTo>
                      <a:pt x="0" y="1937"/>
                    </a:lnTo>
                    <a:cubicBezTo>
                      <a:pt x="0" y="869"/>
                      <a:pt x="869" y="0"/>
                      <a:pt x="1937" y="0"/>
                    </a:cubicBezTo>
                    <a:cubicBezTo>
                      <a:pt x="3005" y="0"/>
                      <a:pt x="3874" y="869"/>
                      <a:pt x="3874" y="1937"/>
                    </a:cubicBezTo>
                    <a:close/>
                    <a:moveTo>
                      <a:pt x="1212" y="2693"/>
                    </a:moveTo>
                    <a:lnTo>
                      <a:pt x="1134" y="2882"/>
                    </a:lnTo>
                    <a:lnTo>
                      <a:pt x="2740" y="2882"/>
                    </a:lnTo>
                    <a:lnTo>
                      <a:pt x="2661" y="2693"/>
                    </a:lnTo>
                    <a:lnTo>
                      <a:pt x="1212" y="2693"/>
                    </a:lnTo>
                    <a:close/>
                    <a:moveTo>
                      <a:pt x="1134" y="3213"/>
                    </a:moveTo>
                    <a:lnTo>
                      <a:pt x="1378" y="3213"/>
                    </a:lnTo>
                    <a:lnTo>
                      <a:pt x="1514" y="3024"/>
                    </a:lnTo>
                    <a:lnTo>
                      <a:pt x="1270" y="3024"/>
                    </a:lnTo>
                    <a:lnTo>
                      <a:pt x="1134" y="3213"/>
                    </a:lnTo>
                    <a:close/>
                    <a:moveTo>
                      <a:pt x="2360" y="3024"/>
                    </a:moveTo>
                    <a:lnTo>
                      <a:pt x="2496" y="3213"/>
                    </a:lnTo>
                    <a:lnTo>
                      <a:pt x="2740" y="3213"/>
                    </a:lnTo>
                    <a:lnTo>
                      <a:pt x="2604" y="3024"/>
                    </a:lnTo>
                    <a:lnTo>
                      <a:pt x="2360" y="3024"/>
                    </a:lnTo>
                    <a:close/>
                    <a:moveTo>
                      <a:pt x="2886" y="1223"/>
                    </a:moveTo>
                    <a:cubicBezTo>
                      <a:pt x="2934" y="1358"/>
                      <a:pt x="2929" y="1458"/>
                      <a:pt x="2929" y="1606"/>
                    </a:cubicBezTo>
                    <a:lnTo>
                      <a:pt x="2867" y="2361"/>
                    </a:lnTo>
                    <a:cubicBezTo>
                      <a:pt x="2858" y="2476"/>
                      <a:pt x="2768" y="2551"/>
                      <a:pt x="2639" y="2551"/>
                    </a:cubicBezTo>
                    <a:lnTo>
                      <a:pt x="1235" y="2551"/>
                    </a:lnTo>
                    <a:cubicBezTo>
                      <a:pt x="1106" y="2551"/>
                      <a:pt x="1016" y="2476"/>
                      <a:pt x="1006" y="2361"/>
                    </a:cubicBezTo>
                    <a:lnTo>
                      <a:pt x="945" y="1606"/>
                    </a:lnTo>
                    <a:cubicBezTo>
                      <a:pt x="945" y="1458"/>
                      <a:pt x="940" y="1358"/>
                      <a:pt x="988" y="1223"/>
                    </a:cubicBezTo>
                    <a:cubicBezTo>
                      <a:pt x="988" y="1223"/>
                      <a:pt x="1131" y="739"/>
                      <a:pt x="1290" y="568"/>
                    </a:cubicBezTo>
                    <a:cubicBezTo>
                      <a:pt x="1418" y="431"/>
                      <a:pt x="1831" y="425"/>
                      <a:pt x="1937" y="426"/>
                    </a:cubicBezTo>
                    <a:cubicBezTo>
                      <a:pt x="2042" y="425"/>
                      <a:pt x="2456" y="431"/>
                      <a:pt x="2584" y="568"/>
                    </a:cubicBezTo>
                    <a:cubicBezTo>
                      <a:pt x="2743" y="739"/>
                      <a:pt x="2886" y="1223"/>
                      <a:pt x="2886" y="1223"/>
                    </a:cubicBezTo>
                    <a:close/>
                    <a:moveTo>
                      <a:pt x="1512" y="806"/>
                    </a:moveTo>
                    <a:lnTo>
                      <a:pt x="2362" y="806"/>
                    </a:lnTo>
                    <a:lnTo>
                      <a:pt x="2362" y="612"/>
                    </a:lnTo>
                    <a:lnTo>
                      <a:pt x="1512" y="612"/>
                    </a:lnTo>
                    <a:lnTo>
                      <a:pt x="1512" y="806"/>
                    </a:lnTo>
                    <a:close/>
                    <a:moveTo>
                      <a:pt x="1561" y="2174"/>
                    </a:moveTo>
                    <a:cubicBezTo>
                      <a:pt x="1561" y="2094"/>
                      <a:pt x="1497" y="2029"/>
                      <a:pt x="1417" y="2029"/>
                    </a:cubicBezTo>
                    <a:cubicBezTo>
                      <a:pt x="1338" y="2029"/>
                      <a:pt x="1273" y="2094"/>
                      <a:pt x="1273" y="2174"/>
                    </a:cubicBezTo>
                    <a:cubicBezTo>
                      <a:pt x="1273" y="2253"/>
                      <a:pt x="1338" y="2318"/>
                      <a:pt x="1417" y="2318"/>
                    </a:cubicBezTo>
                    <a:cubicBezTo>
                      <a:pt x="1497" y="2318"/>
                      <a:pt x="1561" y="2253"/>
                      <a:pt x="1561" y="2174"/>
                    </a:cubicBezTo>
                    <a:close/>
                    <a:moveTo>
                      <a:pt x="2597" y="2174"/>
                    </a:moveTo>
                    <a:cubicBezTo>
                      <a:pt x="2597" y="2094"/>
                      <a:pt x="2533" y="2029"/>
                      <a:pt x="2453" y="2029"/>
                    </a:cubicBezTo>
                    <a:cubicBezTo>
                      <a:pt x="2374" y="2029"/>
                      <a:pt x="2309" y="2094"/>
                      <a:pt x="2309" y="2174"/>
                    </a:cubicBezTo>
                    <a:cubicBezTo>
                      <a:pt x="2309" y="2253"/>
                      <a:pt x="2374" y="2318"/>
                      <a:pt x="2453" y="2318"/>
                    </a:cubicBezTo>
                    <a:cubicBezTo>
                      <a:pt x="2533" y="2318"/>
                      <a:pt x="2597" y="2253"/>
                      <a:pt x="2597" y="2174"/>
                    </a:cubicBezTo>
                    <a:close/>
                    <a:moveTo>
                      <a:pt x="2646" y="1466"/>
                    </a:moveTo>
                    <a:cubicBezTo>
                      <a:pt x="2646" y="1451"/>
                      <a:pt x="2644" y="1437"/>
                      <a:pt x="2640" y="1423"/>
                    </a:cubicBezTo>
                    <a:lnTo>
                      <a:pt x="2640" y="1423"/>
                    </a:lnTo>
                    <a:lnTo>
                      <a:pt x="2639" y="1422"/>
                    </a:lnTo>
                    <a:cubicBezTo>
                      <a:pt x="2639" y="1421"/>
                      <a:pt x="2639" y="1420"/>
                      <a:pt x="2639" y="1419"/>
                    </a:cubicBezTo>
                    <a:lnTo>
                      <a:pt x="2541" y="1109"/>
                    </a:lnTo>
                    <a:lnTo>
                      <a:pt x="2541" y="1109"/>
                    </a:lnTo>
                    <a:cubicBezTo>
                      <a:pt x="2522" y="1046"/>
                      <a:pt x="2463" y="1000"/>
                      <a:pt x="2394" y="1000"/>
                    </a:cubicBezTo>
                    <a:lnTo>
                      <a:pt x="1482" y="1000"/>
                    </a:lnTo>
                    <a:cubicBezTo>
                      <a:pt x="1413" y="1000"/>
                      <a:pt x="1354" y="1046"/>
                      <a:pt x="1335" y="1109"/>
                    </a:cubicBezTo>
                    <a:lnTo>
                      <a:pt x="1335" y="1109"/>
                    </a:lnTo>
                    <a:lnTo>
                      <a:pt x="1238" y="1419"/>
                    </a:lnTo>
                    <a:cubicBezTo>
                      <a:pt x="1237" y="1420"/>
                      <a:pt x="1237" y="1421"/>
                      <a:pt x="1237" y="1422"/>
                    </a:cubicBezTo>
                    <a:lnTo>
                      <a:pt x="1237" y="1423"/>
                    </a:lnTo>
                    <a:lnTo>
                      <a:pt x="1237" y="1423"/>
                    </a:lnTo>
                    <a:cubicBezTo>
                      <a:pt x="1233" y="1437"/>
                      <a:pt x="1230" y="1451"/>
                      <a:pt x="1230" y="1466"/>
                    </a:cubicBezTo>
                    <a:cubicBezTo>
                      <a:pt x="1230" y="1549"/>
                      <a:pt x="1296" y="1617"/>
                      <a:pt x="1378" y="1620"/>
                    </a:cubicBezTo>
                    <a:lnTo>
                      <a:pt x="1378" y="1620"/>
                    </a:lnTo>
                    <a:lnTo>
                      <a:pt x="1938" y="1662"/>
                    </a:lnTo>
                    <a:lnTo>
                      <a:pt x="2498" y="1620"/>
                    </a:lnTo>
                    <a:lnTo>
                      <a:pt x="2498" y="1620"/>
                    </a:lnTo>
                    <a:cubicBezTo>
                      <a:pt x="2580" y="1617"/>
                      <a:pt x="2646" y="1549"/>
                      <a:pt x="2646" y="146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673"/>
              <p:cNvSpPr>
                <a:spLocks noEditPoints="1"/>
              </p:cNvSpPr>
              <p:nvPr/>
            </p:nvSpPr>
            <p:spPr bwMode="gray">
              <a:xfrm>
                <a:off x="2659099" y="5096257"/>
                <a:ext cx="198880" cy="247043"/>
              </a:xfrm>
              <a:custGeom>
                <a:avLst/>
                <a:gdLst>
                  <a:gd name="T0" fmla="*/ 67 w 422"/>
                  <a:gd name="T1" fmla="*/ 221 h 557"/>
                  <a:gd name="T2" fmla="*/ 67 w 422"/>
                  <a:gd name="T3" fmla="*/ 143 h 557"/>
                  <a:gd name="T4" fmla="*/ 210 w 422"/>
                  <a:gd name="T5" fmla="*/ 0 h 557"/>
                  <a:gd name="T6" fmla="*/ 212 w 422"/>
                  <a:gd name="T7" fmla="*/ 0 h 557"/>
                  <a:gd name="T8" fmla="*/ 355 w 422"/>
                  <a:gd name="T9" fmla="*/ 143 h 557"/>
                  <a:gd name="T10" fmla="*/ 355 w 422"/>
                  <a:gd name="T11" fmla="*/ 221 h 557"/>
                  <a:gd name="T12" fmla="*/ 307 w 422"/>
                  <a:gd name="T13" fmla="*/ 221 h 557"/>
                  <a:gd name="T14" fmla="*/ 307 w 422"/>
                  <a:gd name="T15" fmla="*/ 149 h 557"/>
                  <a:gd name="T16" fmla="*/ 212 w 422"/>
                  <a:gd name="T17" fmla="*/ 48 h 557"/>
                  <a:gd name="T18" fmla="*/ 210 w 422"/>
                  <a:gd name="T19" fmla="*/ 48 h 557"/>
                  <a:gd name="T20" fmla="*/ 115 w 422"/>
                  <a:gd name="T21" fmla="*/ 149 h 557"/>
                  <a:gd name="T22" fmla="*/ 115 w 422"/>
                  <a:gd name="T23" fmla="*/ 221 h 557"/>
                  <a:gd name="T24" fmla="*/ 67 w 422"/>
                  <a:gd name="T25" fmla="*/ 221 h 557"/>
                  <a:gd name="T26" fmla="*/ 422 w 422"/>
                  <a:gd name="T27" fmla="*/ 557 h 557"/>
                  <a:gd name="T28" fmla="*/ 0 w 422"/>
                  <a:gd name="T29" fmla="*/ 557 h 557"/>
                  <a:gd name="T30" fmla="*/ 0 w 422"/>
                  <a:gd name="T31" fmla="*/ 231 h 557"/>
                  <a:gd name="T32" fmla="*/ 422 w 422"/>
                  <a:gd name="T33" fmla="*/ 231 h 557"/>
                  <a:gd name="T34" fmla="*/ 422 w 422"/>
                  <a:gd name="T35" fmla="*/ 557 h 557"/>
                  <a:gd name="T36" fmla="*/ 321 w 422"/>
                  <a:gd name="T37" fmla="*/ 394 h 557"/>
                  <a:gd name="T38" fmla="*/ 211 w 422"/>
                  <a:gd name="T39" fmla="*/ 283 h 557"/>
                  <a:gd name="T40" fmla="*/ 101 w 422"/>
                  <a:gd name="T41" fmla="*/ 394 h 557"/>
                  <a:gd name="T42" fmla="*/ 211 w 422"/>
                  <a:gd name="T43" fmla="*/ 504 h 557"/>
                  <a:gd name="T44" fmla="*/ 321 w 422"/>
                  <a:gd name="T45" fmla="*/ 394 h 557"/>
                  <a:gd name="T46" fmla="*/ 312 w 422"/>
                  <a:gd name="T47" fmla="*/ 394 h 557"/>
                  <a:gd name="T48" fmla="*/ 211 w 422"/>
                  <a:gd name="T49" fmla="*/ 495 h 557"/>
                  <a:gd name="T50" fmla="*/ 110 w 422"/>
                  <a:gd name="T51" fmla="*/ 394 h 557"/>
                  <a:gd name="T52" fmla="*/ 211 w 422"/>
                  <a:gd name="T53" fmla="*/ 293 h 557"/>
                  <a:gd name="T54" fmla="*/ 312 w 422"/>
                  <a:gd name="T55" fmla="*/ 394 h 557"/>
                  <a:gd name="T56" fmla="*/ 240 w 422"/>
                  <a:gd name="T57" fmla="*/ 375 h 557"/>
                  <a:gd name="T58" fmla="*/ 211 w 422"/>
                  <a:gd name="T59" fmla="*/ 346 h 557"/>
                  <a:gd name="T60" fmla="*/ 182 w 422"/>
                  <a:gd name="T61" fmla="*/ 375 h 557"/>
                  <a:gd name="T62" fmla="*/ 197 w 422"/>
                  <a:gd name="T63" fmla="*/ 400 h 557"/>
                  <a:gd name="T64" fmla="*/ 197 w 422"/>
                  <a:gd name="T65" fmla="*/ 442 h 557"/>
                  <a:gd name="T66" fmla="*/ 225 w 422"/>
                  <a:gd name="T67" fmla="*/ 442 h 557"/>
                  <a:gd name="T68" fmla="*/ 225 w 422"/>
                  <a:gd name="T69" fmla="*/ 400 h 557"/>
                  <a:gd name="T70" fmla="*/ 240 w 422"/>
                  <a:gd name="T71" fmla="*/ 375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22" h="557">
                    <a:moveTo>
                      <a:pt x="67" y="221"/>
                    </a:moveTo>
                    <a:cubicBezTo>
                      <a:pt x="67" y="143"/>
                      <a:pt x="67" y="143"/>
                      <a:pt x="67" y="143"/>
                    </a:cubicBezTo>
                    <a:cubicBezTo>
                      <a:pt x="67" y="64"/>
                      <a:pt x="131" y="0"/>
                      <a:pt x="210" y="0"/>
                    </a:cubicBezTo>
                    <a:cubicBezTo>
                      <a:pt x="212" y="0"/>
                      <a:pt x="212" y="0"/>
                      <a:pt x="212" y="0"/>
                    </a:cubicBezTo>
                    <a:cubicBezTo>
                      <a:pt x="291" y="0"/>
                      <a:pt x="355" y="64"/>
                      <a:pt x="355" y="143"/>
                    </a:cubicBezTo>
                    <a:cubicBezTo>
                      <a:pt x="355" y="221"/>
                      <a:pt x="355" y="221"/>
                      <a:pt x="355" y="221"/>
                    </a:cubicBezTo>
                    <a:cubicBezTo>
                      <a:pt x="307" y="221"/>
                      <a:pt x="307" y="221"/>
                      <a:pt x="307" y="221"/>
                    </a:cubicBezTo>
                    <a:cubicBezTo>
                      <a:pt x="307" y="149"/>
                      <a:pt x="307" y="149"/>
                      <a:pt x="307" y="149"/>
                    </a:cubicBezTo>
                    <a:cubicBezTo>
                      <a:pt x="307" y="93"/>
                      <a:pt x="264" y="48"/>
                      <a:pt x="212" y="48"/>
                    </a:cubicBezTo>
                    <a:cubicBezTo>
                      <a:pt x="210" y="48"/>
                      <a:pt x="210" y="48"/>
                      <a:pt x="210" y="48"/>
                    </a:cubicBezTo>
                    <a:cubicBezTo>
                      <a:pt x="158" y="48"/>
                      <a:pt x="115" y="93"/>
                      <a:pt x="115" y="149"/>
                    </a:cubicBezTo>
                    <a:cubicBezTo>
                      <a:pt x="115" y="221"/>
                      <a:pt x="115" y="221"/>
                      <a:pt x="115" y="221"/>
                    </a:cubicBezTo>
                    <a:lnTo>
                      <a:pt x="67" y="221"/>
                    </a:lnTo>
                    <a:close/>
                    <a:moveTo>
                      <a:pt x="422" y="557"/>
                    </a:moveTo>
                    <a:cubicBezTo>
                      <a:pt x="0" y="557"/>
                      <a:pt x="0" y="557"/>
                      <a:pt x="0" y="557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422" y="231"/>
                      <a:pt x="422" y="231"/>
                      <a:pt x="422" y="231"/>
                    </a:cubicBezTo>
                    <a:lnTo>
                      <a:pt x="422" y="557"/>
                    </a:lnTo>
                    <a:close/>
                    <a:moveTo>
                      <a:pt x="321" y="394"/>
                    </a:moveTo>
                    <a:cubicBezTo>
                      <a:pt x="321" y="333"/>
                      <a:pt x="272" y="283"/>
                      <a:pt x="211" y="283"/>
                    </a:cubicBezTo>
                    <a:cubicBezTo>
                      <a:pt x="150" y="283"/>
                      <a:pt x="101" y="333"/>
                      <a:pt x="101" y="394"/>
                    </a:cubicBezTo>
                    <a:cubicBezTo>
                      <a:pt x="101" y="455"/>
                      <a:pt x="150" y="504"/>
                      <a:pt x="211" y="504"/>
                    </a:cubicBezTo>
                    <a:cubicBezTo>
                      <a:pt x="272" y="504"/>
                      <a:pt x="321" y="455"/>
                      <a:pt x="321" y="394"/>
                    </a:cubicBezTo>
                    <a:moveTo>
                      <a:pt x="312" y="394"/>
                    </a:moveTo>
                    <a:cubicBezTo>
                      <a:pt x="312" y="450"/>
                      <a:pt x="267" y="495"/>
                      <a:pt x="211" y="495"/>
                    </a:cubicBezTo>
                    <a:cubicBezTo>
                      <a:pt x="155" y="495"/>
                      <a:pt x="110" y="450"/>
                      <a:pt x="110" y="394"/>
                    </a:cubicBezTo>
                    <a:cubicBezTo>
                      <a:pt x="110" y="338"/>
                      <a:pt x="155" y="293"/>
                      <a:pt x="211" y="293"/>
                    </a:cubicBezTo>
                    <a:cubicBezTo>
                      <a:pt x="267" y="293"/>
                      <a:pt x="312" y="338"/>
                      <a:pt x="312" y="394"/>
                    </a:cubicBezTo>
                    <a:moveTo>
                      <a:pt x="240" y="375"/>
                    </a:moveTo>
                    <a:cubicBezTo>
                      <a:pt x="240" y="359"/>
                      <a:pt x="227" y="346"/>
                      <a:pt x="211" y="346"/>
                    </a:cubicBezTo>
                    <a:cubicBezTo>
                      <a:pt x="195" y="346"/>
                      <a:pt x="182" y="359"/>
                      <a:pt x="182" y="375"/>
                    </a:cubicBezTo>
                    <a:cubicBezTo>
                      <a:pt x="182" y="385"/>
                      <a:pt x="188" y="395"/>
                      <a:pt x="197" y="400"/>
                    </a:cubicBezTo>
                    <a:cubicBezTo>
                      <a:pt x="197" y="442"/>
                      <a:pt x="197" y="442"/>
                      <a:pt x="197" y="442"/>
                    </a:cubicBezTo>
                    <a:cubicBezTo>
                      <a:pt x="225" y="442"/>
                      <a:pt x="225" y="442"/>
                      <a:pt x="225" y="442"/>
                    </a:cubicBezTo>
                    <a:cubicBezTo>
                      <a:pt x="225" y="400"/>
                      <a:pt x="225" y="400"/>
                      <a:pt x="225" y="400"/>
                    </a:cubicBezTo>
                    <a:cubicBezTo>
                      <a:pt x="234" y="395"/>
                      <a:pt x="240" y="385"/>
                      <a:pt x="240" y="375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/>
              </a:p>
            </p:txBody>
          </p:sp>
          <p:sp>
            <p:nvSpPr>
              <p:cNvPr id="346" name="Freeform 673"/>
              <p:cNvSpPr>
                <a:spLocks noEditPoints="1"/>
              </p:cNvSpPr>
              <p:nvPr/>
            </p:nvSpPr>
            <p:spPr bwMode="gray">
              <a:xfrm>
                <a:off x="2937664" y="5096257"/>
                <a:ext cx="198880" cy="247043"/>
              </a:xfrm>
              <a:custGeom>
                <a:avLst/>
                <a:gdLst>
                  <a:gd name="T0" fmla="*/ 67 w 422"/>
                  <a:gd name="T1" fmla="*/ 221 h 557"/>
                  <a:gd name="T2" fmla="*/ 67 w 422"/>
                  <a:gd name="T3" fmla="*/ 143 h 557"/>
                  <a:gd name="T4" fmla="*/ 210 w 422"/>
                  <a:gd name="T5" fmla="*/ 0 h 557"/>
                  <a:gd name="T6" fmla="*/ 212 w 422"/>
                  <a:gd name="T7" fmla="*/ 0 h 557"/>
                  <a:gd name="T8" fmla="*/ 355 w 422"/>
                  <a:gd name="T9" fmla="*/ 143 h 557"/>
                  <a:gd name="T10" fmla="*/ 355 w 422"/>
                  <a:gd name="T11" fmla="*/ 221 h 557"/>
                  <a:gd name="T12" fmla="*/ 307 w 422"/>
                  <a:gd name="T13" fmla="*/ 221 h 557"/>
                  <a:gd name="T14" fmla="*/ 307 w 422"/>
                  <a:gd name="T15" fmla="*/ 149 h 557"/>
                  <a:gd name="T16" fmla="*/ 212 w 422"/>
                  <a:gd name="T17" fmla="*/ 48 h 557"/>
                  <a:gd name="T18" fmla="*/ 210 w 422"/>
                  <a:gd name="T19" fmla="*/ 48 h 557"/>
                  <a:gd name="T20" fmla="*/ 115 w 422"/>
                  <a:gd name="T21" fmla="*/ 149 h 557"/>
                  <a:gd name="T22" fmla="*/ 115 w 422"/>
                  <a:gd name="T23" fmla="*/ 221 h 557"/>
                  <a:gd name="T24" fmla="*/ 67 w 422"/>
                  <a:gd name="T25" fmla="*/ 221 h 557"/>
                  <a:gd name="T26" fmla="*/ 422 w 422"/>
                  <a:gd name="T27" fmla="*/ 557 h 557"/>
                  <a:gd name="T28" fmla="*/ 0 w 422"/>
                  <a:gd name="T29" fmla="*/ 557 h 557"/>
                  <a:gd name="T30" fmla="*/ 0 w 422"/>
                  <a:gd name="T31" fmla="*/ 231 h 557"/>
                  <a:gd name="T32" fmla="*/ 422 w 422"/>
                  <a:gd name="T33" fmla="*/ 231 h 557"/>
                  <a:gd name="T34" fmla="*/ 422 w 422"/>
                  <a:gd name="T35" fmla="*/ 557 h 557"/>
                  <a:gd name="T36" fmla="*/ 321 w 422"/>
                  <a:gd name="T37" fmla="*/ 394 h 557"/>
                  <a:gd name="T38" fmla="*/ 211 w 422"/>
                  <a:gd name="T39" fmla="*/ 283 h 557"/>
                  <a:gd name="T40" fmla="*/ 101 w 422"/>
                  <a:gd name="T41" fmla="*/ 394 h 557"/>
                  <a:gd name="T42" fmla="*/ 211 w 422"/>
                  <a:gd name="T43" fmla="*/ 504 h 557"/>
                  <a:gd name="T44" fmla="*/ 321 w 422"/>
                  <a:gd name="T45" fmla="*/ 394 h 557"/>
                  <a:gd name="T46" fmla="*/ 312 w 422"/>
                  <a:gd name="T47" fmla="*/ 394 h 557"/>
                  <a:gd name="T48" fmla="*/ 211 w 422"/>
                  <a:gd name="T49" fmla="*/ 495 h 557"/>
                  <a:gd name="T50" fmla="*/ 110 w 422"/>
                  <a:gd name="T51" fmla="*/ 394 h 557"/>
                  <a:gd name="T52" fmla="*/ 211 w 422"/>
                  <a:gd name="T53" fmla="*/ 293 h 557"/>
                  <a:gd name="T54" fmla="*/ 312 w 422"/>
                  <a:gd name="T55" fmla="*/ 394 h 557"/>
                  <a:gd name="T56" fmla="*/ 240 w 422"/>
                  <a:gd name="T57" fmla="*/ 375 h 557"/>
                  <a:gd name="T58" fmla="*/ 211 w 422"/>
                  <a:gd name="T59" fmla="*/ 346 h 557"/>
                  <a:gd name="T60" fmla="*/ 182 w 422"/>
                  <a:gd name="T61" fmla="*/ 375 h 557"/>
                  <a:gd name="T62" fmla="*/ 197 w 422"/>
                  <a:gd name="T63" fmla="*/ 400 h 557"/>
                  <a:gd name="T64" fmla="*/ 197 w 422"/>
                  <a:gd name="T65" fmla="*/ 442 h 557"/>
                  <a:gd name="T66" fmla="*/ 225 w 422"/>
                  <a:gd name="T67" fmla="*/ 442 h 557"/>
                  <a:gd name="T68" fmla="*/ 225 w 422"/>
                  <a:gd name="T69" fmla="*/ 400 h 557"/>
                  <a:gd name="T70" fmla="*/ 240 w 422"/>
                  <a:gd name="T71" fmla="*/ 375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22" h="557">
                    <a:moveTo>
                      <a:pt x="67" y="221"/>
                    </a:moveTo>
                    <a:cubicBezTo>
                      <a:pt x="67" y="143"/>
                      <a:pt x="67" y="143"/>
                      <a:pt x="67" y="143"/>
                    </a:cubicBezTo>
                    <a:cubicBezTo>
                      <a:pt x="67" y="64"/>
                      <a:pt x="131" y="0"/>
                      <a:pt x="210" y="0"/>
                    </a:cubicBezTo>
                    <a:cubicBezTo>
                      <a:pt x="212" y="0"/>
                      <a:pt x="212" y="0"/>
                      <a:pt x="212" y="0"/>
                    </a:cubicBezTo>
                    <a:cubicBezTo>
                      <a:pt x="291" y="0"/>
                      <a:pt x="355" y="64"/>
                      <a:pt x="355" y="143"/>
                    </a:cubicBezTo>
                    <a:cubicBezTo>
                      <a:pt x="355" y="221"/>
                      <a:pt x="355" y="221"/>
                      <a:pt x="355" y="221"/>
                    </a:cubicBezTo>
                    <a:cubicBezTo>
                      <a:pt x="307" y="221"/>
                      <a:pt x="307" y="221"/>
                      <a:pt x="307" y="221"/>
                    </a:cubicBezTo>
                    <a:cubicBezTo>
                      <a:pt x="307" y="149"/>
                      <a:pt x="307" y="149"/>
                      <a:pt x="307" y="149"/>
                    </a:cubicBezTo>
                    <a:cubicBezTo>
                      <a:pt x="307" y="93"/>
                      <a:pt x="264" y="48"/>
                      <a:pt x="212" y="48"/>
                    </a:cubicBezTo>
                    <a:cubicBezTo>
                      <a:pt x="210" y="48"/>
                      <a:pt x="210" y="48"/>
                      <a:pt x="210" y="48"/>
                    </a:cubicBezTo>
                    <a:cubicBezTo>
                      <a:pt x="158" y="48"/>
                      <a:pt x="115" y="93"/>
                      <a:pt x="115" y="149"/>
                    </a:cubicBezTo>
                    <a:cubicBezTo>
                      <a:pt x="115" y="221"/>
                      <a:pt x="115" y="221"/>
                      <a:pt x="115" y="221"/>
                    </a:cubicBezTo>
                    <a:lnTo>
                      <a:pt x="67" y="221"/>
                    </a:lnTo>
                    <a:close/>
                    <a:moveTo>
                      <a:pt x="422" y="557"/>
                    </a:moveTo>
                    <a:cubicBezTo>
                      <a:pt x="0" y="557"/>
                      <a:pt x="0" y="557"/>
                      <a:pt x="0" y="557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422" y="231"/>
                      <a:pt x="422" y="231"/>
                      <a:pt x="422" y="231"/>
                    </a:cubicBezTo>
                    <a:lnTo>
                      <a:pt x="422" y="557"/>
                    </a:lnTo>
                    <a:close/>
                    <a:moveTo>
                      <a:pt x="321" y="394"/>
                    </a:moveTo>
                    <a:cubicBezTo>
                      <a:pt x="321" y="333"/>
                      <a:pt x="272" y="283"/>
                      <a:pt x="211" y="283"/>
                    </a:cubicBezTo>
                    <a:cubicBezTo>
                      <a:pt x="150" y="283"/>
                      <a:pt x="101" y="333"/>
                      <a:pt x="101" y="394"/>
                    </a:cubicBezTo>
                    <a:cubicBezTo>
                      <a:pt x="101" y="455"/>
                      <a:pt x="150" y="504"/>
                      <a:pt x="211" y="504"/>
                    </a:cubicBezTo>
                    <a:cubicBezTo>
                      <a:pt x="272" y="504"/>
                      <a:pt x="321" y="455"/>
                      <a:pt x="321" y="394"/>
                    </a:cubicBezTo>
                    <a:moveTo>
                      <a:pt x="312" y="394"/>
                    </a:moveTo>
                    <a:cubicBezTo>
                      <a:pt x="312" y="450"/>
                      <a:pt x="267" y="495"/>
                      <a:pt x="211" y="495"/>
                    </a:cubicBezTo>
                    <a:cubicBezTo>
                      <a:pt x="155" y="495"/>
                      <a:pt x="110" y="450"/>
                      <a:pt x="110" y="394"/>
                    </a:cubicBezTo>
                    <a:cubicBezTo>
                      <a:pt x="110" y="338"/>
                      <a:pt x="155" y="293"/>
                      <a:pt x="211" y="293"/>
                    </a:cubicBezTo>
                    <a:cubicBezTo>
                      <a:pt x="267" y="293"/>
                      <a:pt x="312" y="338"/>
                      <a:pt x="312" y="394"/>
                    </a:cubicBezTo>
                    <a:moveTo>
                      <a:pt x="240" y="375"/>
                    </a:moveTo>
                    <a:cubicBezTo>
                      <a:pt x="240" y="359"/>
                      <a:pt x="227" y="346"/>
                      <a:pt x="211" y="346"/>
                    </a:cubicBezTo>
                    <a:cubicBezTo>
                      <a:pt x="195" y="346"/>
                      <a:pt x="182" y="359"/>
                      <a:pt x="182" y="375"/>
                    </a:cubicBezTo>
                    <a:cubicBezTo>
                      <a:pt x="182" y="385"/>
                      <a:pt x="188" y="395"/>
                      <a:pt x="197" y="400"/>
                    </a:cubicBezTo>
                    <a:cubicBezTo>
                      <a:pt x="197" y="442"/>
                      <a:pt x="197" y="442"/>
                      <a:pt x="197" y="442"/>
                    </a:cubicBezTo>
                    <a:cubicBezTo>
                      <a:pt x="225" y="442"/>
                      <a:pt x="225" y="442"/>
                      <a:pt x="225" y="442"/>
                    </a:cubicBezTo>
                    <a:cubicBezTo>
                      <a:pt x="225" y="400"/>
                      <a:pt x="225" y="400"/>
                      <a:pt x="225" y="400"/>
                    </a:cubicBezTo>
                    <a:cubicBezTo>
                      <a:pt x="234" y="395"/>
                      <a:pt x="240" y="385"/>
                      <a:pt x="240" y="375"/>
                    </a:cubicBezTo>
                  </a:path>
                </a:pathLst>
              </a:custGeom>
              <a:solidFill>
                <a:srgbClr val="FFB9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931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PRESENTATIONDONOTDELETE" val="&lt;?xml version=&quot;1.0&quot; encoding=&quot;UTF-16&quot; standalone=&quot;yes&quot;?&gt;&lt;root reqver=&quot;23045&quot;&gt;&lt;version val=&quot;251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1&quot;/&gt;&lt;m_eweekdayFirstOfWeekend val=&quot;6&quot;/&gt;&lt;/CPresentation&gt;&lt;/root&gt;"/>
  <p:tag name="EE4P_STYLE_ID" val="040887b0-086c-4ff4-8beb-b5b55c2754ed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p4ppTags>
  <Name>One object (large)</Name>
  <PpLayout>16</PpLayout>
  <Index>10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9CEC6C3CCE8944CA16816CE112B51D4" ma:contentTypeVersion="8" ma:contentTypeDescription="Skapa ett nytt dokument." ma:contentTypeScope="" ma:versionID="171f50dceae43420437b61c6e9b93606">
  <xsd:schema xmlns:xsd="http://www.w3.org/2001/XMLSchema" xmlns:xs="http://www.w3.org/2001/XMLSchema" xmlns:p="http://schemas.microsoft.com/office/2006/metadata/properties" xmlns:ns2="7313c66d-1532-40a1-a83c-5a74a3dfc9f3" xmlns:ns3="1adea885-05fe-4c75-8d38-8f548ce45bee" targetNamespace="http://schemas.microsoft.com/office/2006/metadata/properties" ma:root="true" ma:fieldsID="3915b96e5aee2a15675867707c54ed9c" ns2:_="" ns3:_="">
    <xsd:import namespace="7313c66d-1532-40a1-a83c-5a74a3dfc9f3"/>
    <xsd:import namespace="1adea885-05fe-4c75-8d38-8f548ce45be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13c66d-1532-40a1-a83c-5a74a3dfc9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dea885-05fe-4c75-8d38-8f548ce45be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0661B8B-A327-44F9-823B-4D9EE0B3EC78}">
  <ds:schemaRefs/>
</ds:datastoreItem>
</file>

<file path=customXml/itemProps2.xml><?xml version="1.0" encoding="utf-8"?>
<ds:datastoreItem xmlns:ds="http://schemas.openxmlformats.org/officeDocument/2006/customXml" ds:itemID="{A940A6D2-EBEF-4E0A-85DB-6CDFB2C367BA}">
  <ds:schemaRefs/>
</ds:datastoreItem>
</file>

<file path=customXml/itemProps3.xml><?xml version="1.0" encoding="utf-8"?>
<ds:datastoreItem xmlns:ds="http://schemas.openxmlformats.org/officeDocument/2006/customXml" ds:itemID="{572FBA73-6DBF-45DA-8282-9342320CFAB0}">
  <ds:schemaRefs/>
</ds:datastoreItem>
</file>

<file path=customXml/itemProps4.xml><?xml version="1.0" encoding="utf-8"?>
<ds:datastoreItem xmlns:ds="http://schemas.openxmlformats.org/officeDocument/2006/customXml" ds:itemID="{2E8C1E0E-BCC4-47D9-8389-056DA78A188A}"/>
</file>

<file path=customXml/itemProps5.xml><?xml version="1.0" encoding="utf-8"?>
<ds:datastoreItem xmlns:ds="http://schemas.openxmlformats.org/officeDocument/2006/customXml" ds:itemID="{28E8A376-0ECF-4169-9C0E-8BE53452879D}"/>
</file>

<file path=customXml/itemProps6.xml><?xml version="1.0" encoding="utf-8"?>
<ds:datastoreItem xmlns:ds="http://schemas.openxmlformats.org/officeDocument/2006/customXml" ds:itemID="{78ECA0F5-B2E3-4D8C-AB0C-F0A03A36FBCB}"/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380</Words>
  <Application>Microsoft Office PowerPoint</Application>
  <PresentationFormat>Anpassad</PresentationFormat>
  <Paragraphs>150</Paragraphs>
  <Slides>12</Slides>
  <Notes>6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2</vt:i4>
      </vt:variant>
    </vt:vector>
  </HeadingPairs>
  <TitlesOfParts>
    <vt:vector size="20" baseType="lpstr">
      <vt:lpstr>Arial Unicode MS</vt:lpstr>
      <vt:lpstr>ＭＳ Ｐゴシック</vt:lpstr>
      <vt:lpstr>Arial</vt:lpstr>
      <vt:lpstr>Siemens Slab</vt:lpstr>
      <vt:lpstr>Wingdings</vt:lpstr>
      <vt:lpstr>ヒラギノ角ゴ Pro W3</vt:lpstr>
      <vt:lpstr>Siemens 2016 – 16:9</vt:lpstr>
      <vt:lpstr>think-cell Folie</vt:lpstr>
      <vt:lpstr>Rethinking Transportation Anders Bylund 2019-02-14 @ Mälardalsrådet</vt:lpstr>
      <vt:lpstr>Global megatrends lead to increased traffic volumes</vt:lpstr>
      <vt:lpstr>PowerPoint-presentation</vt:lpstr>
      <vt:lpstr>The travel behaviour of passengers in today´s interconnected and data driven mobility era has changed</vt:lpstr>
      <vt:lpstr>Public Transport Operators are now facing competition and need to deliver digital, reliable, individual and affordable solutions …</vt:lpstr>
      <vt:lpstr>What does this mean for railway vehicles…</vt:lpstr>
      <vt:lpstr>What does this mean for operations …</vt:lpstr>
      <vt:lpstr>What does this mean for infrastructure …</vt:lpstr>
      <vt:lpstr>MindSphere The open IoT operating system by Siemens will be the platform for future applications and services</vt:lpstr>
      <vt:lpstr>Example: Increase Throughput and Customer Experience by load prediction in the Digital Station</vt:lpstr>
      <vt:lpstr>New strategic priorities, New Business models and eco-system</vt:lpstr>
      <vt:lpstr>Thank you.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8065-08-26T16:29:42Z</dcterms:created>
  <dcterms:modified xsi:type="dcterms:W3CDTF">2019-02-13T18:39:01Z</dcterms:modified>
  <dc:language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792654246</vt:i4>
  </property>
  <property fmtid="{D5CDD505-2E9C-101B-9397-08002B2CF9AE}" pid="3" name="_NewReviewCycle">
    <vt:lpwstr/>
  </property>
  <property fmtid="{D5CDD505-2E9C-101B-9397-08002B2CF9AE}" pid="4" name="_PreviousAdHocReviewCycleID">
    <vt:i4>655110400</vt:i4>
  </property>
  <property fmtid="{D5CDD505-2E9C-101B-9397-08002B2CF9AE}" pid="5" name="ContentTypeId">
    <vt:lpwstr>0x01010009CEC6C3CCE8944CA16816CE112B51D4</vt:lpwstr>
  </property>
</Properties>
</file>